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9"/>
  </p:notesMasterIdLst>
  <p:sldIdLst>
    <p:sldId id="256" r:id="rId5"/>
    <p:sldId id="302" r:id="rId6"/>
    <p:sldId id="347" r:id="rId7"/>
    <p:sldId id="258"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06BE445-6CCD-DCF6-3B2A-20D7220F22BA}" name="Neil Pollard" initials="NP" userId="S::Neil.Pollard@glencore.com.au::6f78faa6-6c14-4e14-b949-3fcbb76b3ea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6D6FF"/>
    <a:srgbClr val="000000"/>
    <a:srgbClr val="FFF5EE"/>
    <a:srgbClr val="1A1B24"/>
    <a:srgbClr val="FFFFFF"/>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DF53A46-BCC5-F944-9A41-E3BFBBFFBDB8}" v="22" dt="2024-09-09T06:21:24.45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776" autoAdjust="0"/>
    <p:restoredTop sz="94660"/>
  </p:normalViewPr>
  <p:slideViewPr>
    <p:cSldViewPr snapToGrid="0">
      <p:cViewPr varScale="1">
        <p:scale>
          <a:sx n="190" d="100"/>
          <a:sy n="190" d="100"/>
        </p:scale>
        <p:origin x="1008" y="192"/>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5" Type="http://schemas.microsoft.com/office/2018/10/relationships/authors" Target="authors.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730A4B6-2AE5-FC44-9647-FDFCF62D8569}" type="datetimeFigureOut">
              <a:rPr lang="en-US" smtClean="0"/>
              <a:t>9/9/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FA087E7-81E8-CC40-AD6F-BBBD7C6D9711}" type="slidenum">
              <a:rPr lang="en-US" smtClean="0"/>
              <a:t>‹#›</a:t>
            </a:fld>
            <a:endParaRPr lang="en-US" dirty="0"/>
          </a:p>
        </p:txBody>
      </p:sp>
    </p:spTree>
    <p:extLst>
      <p:ext uri="{BB962C8B-B14F-4D97-AF65-F5344CB8AC3E}">
        <p14:creationId xmlns:p14="http://schemas.microsoft.com/office/powerpoint/2010/main" val="34029547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A164690-3C04-4D2E-B8B4-8F007C8E8935}"/>
              </a:ext>
            </a:extLst>
          </p:cNvPr>
          <p:cNvSpPr>
            <a:spLocks noGrp="1"/>
          </p:cNvSpPr>
          <p:nvPr>
            <p:ph type="dt" sz="half" idx="10"/>
          </p:nvPr>
        </p:nvSpPr>
        <p:spPr/>
        <p:txBody>
          <a:bodyPr/>
          <a:lstStyle/>
          <a:p>
            <a:fld id="{958F8844-22EE-4C68-84C9-C765D6ECC5DB}" type="datetimeFigureOut">
              <a:rPr lang="en-US" smtClean="0"/>
              <a:t>9/9/24</a:t>
            </a:fld>
            <a:endParaRPr lang="en-US" dirty="0"/>
          </a:p>
        </p:txBody>
      </p:sp>
      <p:sp>
        <p:nvSpPr>
          <p:cNvPr id="3" name="Footer Placeholder 2">
            <a:extLst>
              <a:ext uri="{FF2B5EF4-FFF2-40B4-BE49-F238E27FC236}">
                <a16:creationId xmlns:a16="http://schemas.microsoft.com/office/drawing/2014/main" id="{2FA4C163-2413-4F50-8F70-54438B983720}"/>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74F2816C-A7CA-4A97-A64E-E58C3691E542}"/>
              </a:ext>
            </a:extLst>
          </p:cNvPr>
          <p:cNvSpPr>
            <a:spLocks noGrp="1"/>
          </p:cNvSpPr>
          <p:nvPr>
            <p:ph type="sldNum" sz="quarter" idx="12"/>
          </p:nvPr>
        </p:nvSpPr>
        <p:spPr/>
        <p:txBody>
          <a:bodyPr/>
          <a:lstStyle/>
          <a:p>
            <a:fld id="{829D2416-81EA-414A-9A1B-E074E10F16F2}" type="slidenum">
              <a:rPr lang="en-US" smtClean="0"/>
              <a:t>‹#›</a:t>
            </a:fld>
            <a:endParaRPr lang="en-US" dirty="0"/>
          </a:p>
        </p:txBody>
      </p:sp>
    </p:spTree>
    <p:extLst>
      <p:ext uri="{BB962C8B-B14F-4D97-AF65-F5344CB8AC3E}">
        <p14:creationId xmlns:p14="http://schemas.microsoft.com/office/powerpoint/2010/main" val="1029789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FB129B0E-9415-43F5-A2E2-855F7F01EFDF}"/>
              </a:ext>
            </a:extLst>
          </p:cNvPr>
          <p:cNvSpPr>
            <a:spLocks noGrp="1"/>
          </p:cNvSpPr>
          <p:nvPr>
            <p:ph type="pic" sz="quarter" idx="13"/>
          </p:nvPr>
        </p:nvSpPr>
        <p:spPr>
          <a:xfrm>
            <a:off x="7028316" y="0"/>
            <a:ext cx="5163685" cy="6858000"/>
          </a:xfrm>
          <a:custGeom>
            <a:avLst/>
            <a:gdLst>
              <a:gd name="connsiteX0" fmla="*/ 581116 w 5163685"/>
              <a:gd name="connsiteY0" fmla="*/ 0 h 6858000"/>
              <a:gd name="connsiteX1" fmla="*/ 5163685 w 5163685"/>
              <a:gd name="connsiteY1" fmla="*/ 0 h 6858000"/>
              <a:gd name="connsiteX2" fmla="*/ 5163685 w 5163685"/>
              <a:gd name="connsiteY2" fmla="*/ 6858000 h 6858000"/>
              <a:gd name="connsiteX3" fmla="*/ 581106 w 5163685"/>
              <a:gd name="connsiteY3" fmla="*/ 6858000 h 6858000"/>
              <a:gd name="connsiteX4" fmla="*/ 464005 w 5163685"/>
              <a:gd name="connsiteY4" fmla="*/ 6846195 h 6858000"/>
              <a:gd name="connsiteX5" fmla="*/ 0 w 5163685"/>
              <a:gd name="connsiteY5" fmla="*/ 6276881 h 6858000"/>
              <a:gd name="connsiteX6" fmla="*/ 0 w 5163685"/>
              <a:gd name="connsiteY6" fmla="*/ 581121 h 6858000"/>
              <a:gd name="connsiteX7" fmla="*/ 464005 w 5163685"/>
              <a:gd name="connsiteY7" fmla="*/ 1180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63685" h="6858000">
                <a:moveTo>
                  <a:pt x="581116" y="0"/>
                </a:moveTo>
                <a:lnTo>
                  <a:pt x="5163685" y="0"/>
                </a:lnTo>
                <a:lnTo>
                  <a:pt x="5163685" y="6858000"/>
                </a:lnTo>
                <a:lnTo>
                  <a:pt x="581106" y="6858000"/>
                </a:lnTo>
                <a:lnTo>
                  <a:pt x="464005" y="6846195"/>
                </a:lnTo>
                <a:cubicBezTo>
                  <a:pt x="199198" y="6792008"/>
                  <a:pt x="0" y="6557707"/>
                  <a:pt x="0" y="6276881"/>
                </a:cubicBezTo>
                <a:lnTo>
                  <a:pt x="0" y="581121"/>
                </a:lnTo>
                <a:cubicBezTo>
                  <a:pt x="0" y="300295"/>
                  <a:pt x="199198" y="65993"/>
                  <a:pt x="464005" y="11806"/>
                </a:cubicBezTo>
                <a:close/>
              </a:path>
            </a:pathLst>
          </a:custGeom>
        </p:spPr>
        <p:txBody>
          <a:bodyPr wrap="square">
            <a:noAutofit/>
          </a:bodyPr>
          <a:lstStyle/>
          <a:p>
            <a:endParaRPr lang="en-US" dirty="0"/>
          </a:p>
        </p:txBody>
      </p:sp>
      <p:sp>
        <p:nvSpPr>
          <p:cNvPr id="2" name="Date Placeholder 1">
            <a:extLst>
              <a:ext uri="{FF2B5EF4-FFF2-40B4-BE49-F238E27FC236}">
                <a16:creationId xmlns:a16="http://schemas.microsoft.com/office/drawing/2014/main" id="{2A164690-3C04-4D2E-B8B4-8F007C8E8935}"/>
              </a:ext>
            </a:extLst>
          </p:cNvPr>
          <p:cNvSpPr>
            <a:spLocks noGrp="1"/>
          </p:cNvSpPr>
          <p:nvPr>
            <p:ph type="dt" sz="half" idx="10"/>
          </p:nvPr>
        </p:nvSpPr>
        <p:spPr/>
        <p:txBody>
          <a:bodyPr/>
          <a:lstStyle/>
          <a:p>
            <a:fld id="{958F8844-22EE-4C68-84C9-C765D6ECC5DB}" type="datetimeFigureOut">
              <a:rPr lang="en-US" smtClean="0"/>
              <a:t>9/9/24</a:t>
            </a:fld>
            <a:endParaRPr lang="en-US" dirty="0"/>
          </a:p>
        </p:txBody>
      </p:sp>
      <p:sp>
        <p:nvSpPr>
          <p:cNvPr id="3" name="Footer Placeholder 2">
            <a:extLst>
              <a:ext uri="{FF2B5EF4-FFF2-40B4-BE49-F238E27FC236}">
                <a16:creationId xmlns:a16="http://schemas.microsoft.com/office/drawing/2014/main" id="{2FA4C163-2413-4F50-8F70-54438B983720}"/>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74F2816C-A7CA-4A97-A64E-E58C3691E542}"/>
              </a:ext>
            </a:extLst>
          </p:cNvPr>
          <p:cNvSpPr>
            <a:spLocks noGrp="1"/>
          </p:cNvSpPr>
          <p:nvPr>
            <p:ph type="sldNum" sz="quarter" idx="12"/>
          </p:nvPr>
        </p:nvSpPr>
        <p:spPr/>
        <p:txBody>
          <a:bodyPr/>
          <a:lstStyle/>
          <a:p>
            <a:fld id="{829D2416-81EA-414A-9A1B-E074E10F16F2}" type="slidenum">
              <a:rPr lang="en-US" smtClean="0"/>
              <a:t>‹#›</a:t>
            </a:fld>
            <a:endParaRPr lang="en-US" dirty="0"/>
          </a:p>
        </p:txBody>
      </p:sp>
    </p:spTree>
    <p:extLst>
      <p:ext uri="{BB962C8B-B14F-4D97-AF65-F5344CB8AC3E}">
        <p14:creationId xmlns:p14="http://schemas.microsoft.com/office/powerpoint/2010/main" val="102340647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CCD131B-A54D-45C1-9281-EEC87709AA69}"/>
              </a:ext>
            </a:extLst>
          </p:cNvPr>
          <p:cNvSpPr>
            <a:spLocks noGrp="1"/>
          </p:cNvSpPr>
          <p:nvPr>
            <p:ph type="pic" sz="quarter" idx="13"/>
          </p:nvPr>
        </p:nvSpPr>
        <p:spPr>
          <a:xfrm>
            <a:off x="0" y="93306"/>
            <a:ext cx="12192001" cy="6858000"/>
          </a:xfrm>
          <a:custGeom>
            <a:avLst/>
            <a:gdLst>
              <a:gd name="connsiteX0" fmla="*/ 0 w 5160498"/>
              <a:gd name="connsiteY0" fmla="*/ 0 h 6858000"/>
              <a:gd name="connsiteX1" fmla="*/ 5160498 w 5160498"/>
              <a:gd name="connsiteY1" fmla="*/ 0 h 6858000"/>
              <a:gd name="connsiteX2" fmla="*/ 5160498 w 5160498"/>
              <a:gd name="connsiteY2" fmla="*/ 6858000 h 6858000"/>
              <a:gd name="connsiteX3" fmla="*/ 0 w 516049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160498" h="6858000">
                <a:moveTo>
                  <a:pt x="0" y="0"/>
                </a:moveTo>
                <a:lnTo>
                  <a:pt x="5160498" y="0"/>
                </a:lnTo>
                <a:lnTo>
                  <a:pt x="5160498" y="6858000"/>
                </a:lnTo>
                <a:lnTo>
                  <a:pt x="0" y="6858000"/>
                </a:lnTo>
                <a:close/>
              </a:path>
            </a:pathLst>
          </a:custGeom>
        </p:spPr>
        <p:txBody>
          <a:bodyPr wrap="square">
            <a:noAutofit/>
          </a:bodyPr>
          <a:lstStyle/>
          <a:p>
            <a:endParaRPr lang="en-US" dirty="0"/>
          </a:p>
        </p:txBody>
      </p:sp>
      <p:sp>
        <p:nvSpPr>
          <p:cNvPr id="2" name="Date Placeholder 1">
            <a:extLst>
              <a:ext uri="{FF2B5EF4-FFF2-40B4-BE49-F238E27FC236}">
                <a16:creationId xmlns:a16="http://schemas.microsoft.com/office/drawing/2014/main" id="{2A164690-3C04-4D2E-B8B4-8F007C8E8935}"/>
              </a:ext>
            </a:extLst>
          </p:cNvPr>
          <p:cNvSpPr>
            <a:spLocks noGrp="1"/>
          </p:cNvSpPr>
          <p:nvPr>
            <p:ph type="dt" sz="half" idx="10"/>
          </p:nvPr>
        </p:nvSpPr>
        <p:spPr/>
        <p:txBody>
          <a:bodyPr/>
          <a:lstStyle/>
          <a:p>
            <a:fld id="{958F8844-22EE-4C68-84C9-C765D6ECC5DB}" type="datetimeFigureOut">
              <a:rPr lang="en-US" smtClean="0"/>
              <a:t>9/9/24</a:t>
            </a:fld>
            <a:endParaRPr lang="en-US" dirty="0"/>
          </a:p>
        </p:txBody>
      </p:sp>
      <p:sp>
        <p:nvSpPr>
          <p:cNvPr id="3" name="Footer Placeholder 2">
            <a:extLst>
              <a:ext uri="{FF2B5EF4-FFF2-40B4-BE49-F238E27FC236}">
                <a16:creationId xmlns:a16="http://schemas.microsoft.com/office/drawing/2014/main" id="{2FA4C163-2413-4F50-8F70-54438B983720}"/>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74F2816C-A7CA-4A97-A64E-E58C3691E542}"/>
              </a:ext>
            </a:extLst>
          </p:cNvPr>
          <p:cNvSpPr>
            <a:spLocks noGrp="1"/>
          </p:cNvSpPr>
          <p:nvPr>
            <p:ph type="sldNum" sz="quarter" idx="12"/>
          </p:nvPr>
        </p:nvSpPr>
        <p:spPr/>
        <p:txBody>
          <a:bodyPr/>
          <a:lstStyle/>
          <a:p>
            <a:fld id="{829D2416-81EA-414A-9A1B-E074E10F16F2}" type="slidenum">
              <a:rPr lang="en-US" smtClean="0"/>
              <a:t>‹#›</a:t>
            </a:fld>
            <a:endParaRPr lang="en-US" dirty="0"/>
          </a:p>
        </p:txBody>
      </p:sp>
    </p:spTree>
    <p:extLst>
      <p:ext uri="{BB962C8B-B14F-4D97-AF65-F5344CB8AC3E}">
        <p14:creationId xmlns:p14="http://schemas.microsoft.com/office/powerpoint/2010/main" val="342826244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97157B9-DA62-42E8-9493-7CF896780448}"/>
              </a:ext>
            </a:extLst>
          </p:cNvPr>
          <p:cNvSpPr>
            <a:spLocks noGrp="1"/>
          </p:cNvSpPr>
          <p:nvPr>
            <p:ph type="pic" sz="quarter" idx="13"/>
          </p:nvPr>
        </p:nvSpPr>
        <p:spPr>
          <a:xfrm>
            <a:off x="381002" y="381000"/>
            <a:ext cx="11429998" cy="6096000"/>
          </a:xfrm>
          <a:custGeom>
            <a:avLst/>
            <a:gdLst>
              <a:gd name="connsiteX0" fmla="*/ 115032 w 11429998"/>
              <a:gd name="connsiteY0" fmla="*/ 0 h 6096000"/>
              <a:gd name="connsiteX1" fmla="*/ 11314966 w 11429998"/>
              <a:gd name="connsiteY1" fmla="*/ 0 h 6096000"/>
              <a:gd name="connsiteX2" fmla="*/ 11429998 w 11429998"/>
              <a:gd name="connsiteY2" fmla="*/ 115032 h 6096000"/>
              <a:gd name="connsiteX3" fmla="*/ 11429998 w 11429998"/>
              <a:gd name="connsiteY3" fmla="*/ 5980968 h 6096000"/>
              <a:gd name="connsiteX4" fmla="*/ 11314966 w 11429998"/>
              <a:gd name="connsiteY4" fmla="*/ 6096000 h 6096000"/>
              <a:gd name="connsiteX5" fmla="*/ 115032 w 11429998"/>
              <a:gd name="connsiteY5" fmla="*/ 6096000 h 6096000"/>
              <a:gd name="connsiteX6" fmla="*/ 0 w 11429998"/>
              <a:gd name="connsiteY6" fmla="*/ 5980968 h 6096000"/>
              <a:gd name="connsiteX7" fmla="*/ 0 w 11429998"/>
              <a:gd name="connsiteY7" fmla="*/ 115032 h 6096000"/>
              <a:gd name="connsiteX8" fmla="*/ 115032 w 11429998"/>
              <a:gd name="connsiteY8" fmla="*/ 0 h 60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29998" h="6096000">
                <a:moveTo>
                  <a:pt x="115032" y="0"/>
                </a:moveTo>
                <a:lnTo>
                  <a:pt x="11314966" y="0"/>
                </a:lnTo>
                <a:cubicBezTo>
                  <a:pt x="11378496" y="0"/>
                  <a:pt x="11429998" y="51502"/>
                  <a:pt x="11429998" y="115032"/>
                </a:cubicBezTo>
                <a:lnTo>
                  <a:pt x="11429998" y="5980968"/>
                </a:lnTo>
                <a:cubicBezTo>
                  <a:pt x="11429998" y="6044498"/>
                  <a:pt x="11378496" y="6096000"/>
                  <a:pt x="11314966" y="6096000"/>
                </a:cubicBezTo>
                <a:lnTo>
                  <a:pt x="115032" y="6096000"/>
                </a:lnTo>
                <a:cubicBezTo>
                  <a:pt x="51502" y="6096000"/>
                  <a:pt x="0" y="6044498"/>
                  <a:pt x="0" y="5980968"/>
                </a:cubicBezTo>
                <a:lnTo>
                  <a:pt x="0" y="115032"/>
                </a:lnTo>
                <a:cubicBezTo>
                  <a:pt x="0" y="51502"/>
                  <a:pt x="51502" y="0"/>
                  <a:pt x="115032" y="0"/>
                </a:cubicBezTo>
                <a:close/>
              </a:path>
            </a:pathLst>
          </a:custGeom>
        </p:spPr>
        <p:txBody>
          <a:bodyPr wrap="square">
            <a:noAutofit/>
          </a:bodyPr>
          <a:lstStyle/>
          <a:p>
            <a:endParaRPr lang="en-US" dirty="0"/>
          </a:p>
        </p:txBody>
      </p:sp>
      <p:sp>
        <p:nvSpPr>
          <p:cNvPr id="2" name="Date Placeholder 1">
            <a:extLst>
              <a:ext uri="{FF2B5EF4-FFF2-40B4-BE49-F238E27FC236}">
                <a16:creationId xmlns:a16="http://schemas.microsoft.com/office/drawing/2014/main" id="{2A164690-3C04-4D2E-B8B4-8F007C8E8935}"/>
              </a:ext>
            </a:extLst>
          </p:cNvPr>
          <p:cNvSpPr>
            <a:spLocks noGrp="1"/>
          </p:cNvSpPr>
          <p:nvPr>
            <p:ph type="dt" sz="half" idx="10"/>
          </p:nvPr>
        </p:nvSpPr>
        <p:spPr/>
        <p:txBody>
          <a:bodyPr/>
          <a:lstStyle/>
          <a:p>
            <a:fld id="{958F8844-22EE-4C68-84C9-C765D6ECC5DB}" type="datetimeFigureOut">
              <a:rPr lang="en-US" smtClean="0"/>
              <a:t>9/9/24</a:t>
            </a:fld>
            <a:endParaRPr lang="en-US" dirty="0"/>
          </a:p>
        </p:txBody>
      </p:sp>
      <p:sp>
        <p:nvSpPr>
          <p:cNvPr id="3" name="Footer Placeholder 2">
            <a:extLst>
              <a:ext uri="{FF2B5EF4-FFF2-40B4-BE49-F238E27FC236}">
                <a16:creationId xmlns:a16="http://schemas.microsoft.com/office/drawing/2014/main" id="{2FA4C163-2413-4F50-8F70-54438B983720}"/>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74F2816C-A7CA-4A97-A64E-E58C3691E542}"/>
              </a:ext>
            </a:extLst>
          </p:cNvPr>
          <p:cNvSpPr>
            <a:spLocks noGrp="1"/>
          </p:cNvSpPr>
          <p:nvPr>
            <p:ph type="sldNum" sz="quarter" idx="12"/>
          </p:nvPr>
        </p:nvSpPr>
        <p:spPr/>
        <p:txBody>
          <a:bodyPr/>
          <a:lstStyle/>
          <a:p>
            <a:fld id="{829D2416-81EA-414A-9A1B-E074E10F16F2}" type="slidenum">
              <a:rPr lang="en-US" smtClean="0"/>
              <a:t>‹#›</a:t>
            </a:fld>
            <a:endParaRPr lang="en-US" dirty="0"/>
          </a:p>
        </p:txBody>
      </p:sp>
    </p:spTree>
    <p:extLst>
      <p:ext uri="{BB962C8B-B14F-4D97-AF65-F5344CB8AC3E}">
        <p14:creationId xmlns:p14="http://schemas.microsoft.com/office/powerpoint/2010/main" val="122380068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70A115EE-9E32-4A68-ABF7-7CF2179CBD5D}"/>
              </a:ext>
            </a:extLst>
          </p:cNvPr>
          <p:cNvSpPr>
            <a:spLocks noGrp="1"/>
          </p:cNvSpPr>
          <p:nvPr>
            <p:ph type="pic" sz="quarter" idx="13"/>
          </p:nvPr>
        </p:nvSpPr>
        <p:spPr>
          <a:xfrm>
            <a:off x="2" y="-3"/>
            <a:ext cx="4692317" cy="6858002"/>
          </a:xfrm>
          <a:custGeom>
            <a:avLst/>
            <a:gdLst>
              <a:gd name="connsiteX0" fmla="*/ 0 w 4692317"/>
              <a:gd name="connsiteY0" fmla="*/ 0 h 6858002"/>
              <a:gd name="connsiteX1" fmla="*/ 4469057 w 4692317"/>
              <a:gd name="connsiteY1" fmla="*/ 0 h 6858002"/>
              <a:gd name="connsiteX2" fmla="*/ 4692317 w 4692317"/>
              <a:gd name="connsiteY2" fmla="*/ 223260 h 6858002"/>
              <a:gd name="connsiteX3" fmla="*/ 4692317 w 4692317"/>
              <a:gd name="connsiteY3" fmla="*/ 6634742 h 6858002"/>
              <a:gd name="connsiteX4" fmla="*/ 4469057 w 4692317"/>
              <a:gd name="connsiteY4" fmla="*/ 6858002 h 6858002"/>
              <a:gd name="connsiteX5" fmla="*/ 0 w 4692317"/>
              <a:gd name="connsiteY5" fmla="*/ 6858002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92317" h="6858002">
                <a:moveTo>
                  <a:pt x="0" y="0"/>
                </a:moveTo>
                <a:lnTo>
                  <a:pt x="4469057" y="0"/>
                </a:lnTo>
                <a:cubicBezTo>
                  <a:pt x="4592360" y="0"/>
                  <a:pt x="4692317" y="99957"/>
                  <a:pt x="4692317" y="223260"/>
                </a:cubicBezTo>
                <a:lnTo>
                  <a:pt x="4692317" y="6634742"/>
                </a:lnTo>
                <a:cubicBezTo>
                  <a:pt x="4692317" y="6758045"/>
                  <a:pt x="4592360" y="6858002"/>
                  <a:pt x="4469057" y="6858002"/>
                </a:cubicBezTo>
                <a:lnTo>
                  <a:pt x="0" y="6858002"/>
                </a:lnTo>
                <a:close/>
              </a:path>
            </a:pathLst>
          </a:custGeom>
          <a:solidFill>
            <a:schemeClr val="bg1"/>
          </a:solidFill>
          <a:ln>
            <a:noFill/>
          </a:ln>
          <a:effectLst>
            <a:outerShdw blurRad="711200" dist="381000" sx="87000" sy="87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US" sz="1800">
                <a:solidFill>
                  <a:schemeClr val="lt1"/>
                </a:solidFill>
              </a:defRPr>
            </a:lvl1pPr>
          </a:lstStyle>
          <a:p>
            <a:pPr marL="0" lvl="0" algn="ctr"/>
            <a:endParaRPr lang="en-US" dirty="0"/>
          </a:p>
        </p:txBody>
      </p:sp>
      <p:sp>
        <p:nvSpPr>
          <p:cNvPr id="2" name="Date Placeholder 1">
            <a:extLst>
              <a:ext uri="{FF2B5EF4-FFF2-40B4-BE49-F238E27FC236}">
                <a16:creationId xmlns:a16="http://schemas.microsoft.com/office/drawing/2014/main" id="{2A164690-3C04-4D2E-B8B4-8F007C8E8935}"/>
              </a:ext>
            </a:extLst>
          </p:cNvPr>
          <p:cNvSpPr>
            <a:spLocks noGrp="1"/>
          </p:cNvSpPr>
          <p:nvPr>
            <p:ph type="dt" sz="half" idx="10"/>
          </p:nvPr>
        </p:nvSpPr>
        <p:spPr/>
        <p:txBody>
          <a:bodyPr/>
          <a:lstStyle/>
          <a:p>
            <a:fld id="{958F8844-22EE-4C68-84C9-C765D6ECC5DB}" type="datetimeFigureOut">
              <a:rPr lang="en-US" smtClean="0"/>
              <a:t>9/9/24</a:t>
            </a:fld>
            <a:endParaRPr lang="en-US" dirty="0"/>
          </a:p>
        </p:txBody>
      </p:sp>
      <p:sp>
        <p:nvSpPr>
          <p:cNvPr id="3" name="Footer Placeholder 2">
            <a:extLst>
              <a:ext uri="{FF2B5EF4-FFF2-40B4-BE49-F238E27FC236}">
                <a16:creationId xmlns:a16="http://schemas.microsoft.com/office/drawing/2014/main" id="{2FA4C163-2413-4F50-8F70-54438B983720}"/>
              </a:ext>
            </a:extLst>
          </p:cNvPr>
          <p:cNvSpPr>
            <a:spLocks noGrp="1"/>
          </p:cNvSpPr>
          <p:nvPr>
            <p:ph type="ftr" sz="quarter" idx="11"/>
          </p:nvPr>
        </p:nvSpPr>
        <p:spPr/>
        <p:txBody>
          <a:bodyPr/>
          <a:lstStyle>
            <a:lvl1pPr>
              <a:buFont typeface="+mj-lt"/>
              <a:buAutoNum type="arabicPeriod"/>
              <a:defRPr/>
            </a:lvl1pPr>
          </a:lstStyle>
          <a:p>
            <a:pPr>
              <a:buFont typeface="+mj-lt"/>
              <a:buAutoNum type="arabicPeriod"/>
            </a:pPr>
            <a:endParaRPr lang="en-US" dirty="0"/>
          </a:p>
        </p:txBody>
      </p:sp>
      <p:sp>
        <p:nvSpPr>
          <p:cNvPr id="4" name="Slide Number Placeholder 3">
            <a:extLst>
              <a:ext uri="{FF2B5EF4-FFF2-40B4-BE49-F238E27FC236}">
                <a16:creationId xmlns:a16="http://schemas.microsoft.com/office/drawing/2014/main" id="{74F2816C-A7CA-4A97-A64E-E58C3691E542}"/>
              </a:ext>
            </a:extLst>
          </p:cNvPr>
          <p:cNvSpPr>
            <a:spLocks noGrp="1"/>
          </p:cNvSpPr>
          <p:nvPr>
            <p:ph type="sldNum" sz="quarter" idx="12"/>
          </p:nvPr>
        </p:nvSpPr>
        <p:spPr/>
        <p:txBody>
          <a:bodyPr/>
          <a:lstStyle/>
          <a:p>
            <a:fld id="{829D2416-81EA-414A-9A1B-E074E10F16F2}" type="slidenum">
              <a:rPr lang="en-US" smtClean="0"/>
              <a:t>‹#›</a:t>
            </a:fld>
            <a:endParaRPr lang="en-US" dirty="0"/>
          </a:p>
        </p:txBody>
      </p:sp>
    </p:spTree>
    <p:extLst>
      <p:ext uri="{BB962C8B-B14F-4D97-AF65-F5344CB8AC3E}">
        <p14:creationId xmlns:p14="http://schemas.microsoft.com/office/powerpoint/2010/main" val="47684758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E5E44E-DE65-BD4A-AD6A-912E70E65CD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1587F1C-78E6-4C46-8379-0AF7269CE8A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32A5B83-6083-F748-9509-BFA4FB2242C4}"/>
              </a:ext>
            </a:extLst>
          </p:cNvPr>
          <p:cNvSpPr>
            <a:spLocks noGrp="1"/>
          </p:cNvSpPr>
          <p:nvPr>
            <p:ph type="dt" sz="half" idx="10"/>
          </p:nvPr>
        </p:nvSpPr>
        <p:spPr/>
        <p:txBody>
          <a:bodyPr/>
          <a:lstStyle/>
          <a:p>
            <a:fld id="{0E02DCA7-D6C9-4108-9674-CE34EAF39A52}" type="datetime1">
              <a:rPr lang="en-US" smtClean="0"/>
              <a:t>9/9/24</a:t>
            </a:fld>
            <a:endParaRPr lang="en-US" dirty="0"/>
          </a:p>
        </p:txBody>
      </p:sp>
      <p:sp>
        <p:nvSpPr>
          <p:cNvPr id="5" name="Footer Placeholder 4">
            <a:extLst>
              <a:ext uri="{FF2B5EF4-FFF2-40B4-BE49-F238E27FC236}">
                <a16:creationId xmlns:a16="http://schemas.microsoft.com/office/drawing/2014/main" id="{376CD984-C170-364A-8061-1622AB2C641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394B1B0-0BD6-454C-9764-2708FD273798}"/>
              </a:ext>
            </a:extLst>
          </p:cNvPr>
          <p:cNvSpPr>
            <a:spLocks noGrp="1"/>
          </p:cNvSpPr>
          <p:nvPr>
            <p:ph type="sldNum" sz="quarter" idx="12"/>
          </p:nvPr>
        </p:nvSpPr>
        <p:spPr/>
        <p:txBody>
          <a:bodyPr/>
          <a:lstStyle/>
          <a:p>
            <a:fld id="{621D1297-FA94-7D43-9275-3BBF7943531E}" type="slidenum">
              <a:rPr lang="en-US" smtClean="0"/>
              <a:t>‹#›</a:t>
            </a:fld>
            <a:endParaRPr lang="en-US" dirty="0"/>
          </a:p>
        </p:txBody>
      </p:sp>
    </p:spTree>
    <p:extLst>
      <p:ext uri="{BB962C8B-B14F-4D97-AF65-F5344CB8AC3E}">
        <p14:creationId xmlns:p14="http://schemas.microsoft.com/office/powerpoint/2010/main" val="125059053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825FBD8-6296-428B-BDCD-DC017E2CA76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4A0F1DF-27C3-4F9D-B8C1-D739BFF5A5A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C778D3B-A9E8-4150-A482-67207097422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58F8844-22EE-4C68-84C9-C765D6ECC5DB}" type="datetimeFigureOut">
              <a:rPr lang="en-US" smtClean="0"/>
              <a:t>9/9/24</a:t>
            </a:fld>
            <a:endParaRPr lang="en-US" dirty="0"/>
          </a:p>
        </p:txBody>
      </p:sp>
      <p:sp>
        <p:nvSpPr>
          <p:cNvPr id="5" name="Footer Placeholder 4">
            <a:extLst>
              <a:ext uri="{FF2B5EF4-FFF2-40B4-BE49-F238E27FC236}">
                <a16:creationId xmlns:a16="http://schemas.microsoft.com/office/drawing/2014/main" id="{7E3D3D08-507D-40FE-A591-959CDBAA5CA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D8BD6A2E-E27A-4263-B2EF-4574ABBAA6D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9D2416-81EA-414A-9A1B-E074E10F16F2}" type="slidenum">
              <a:rPr lang="en-US" smtClean="0"/>
              <a:t>‹#›</a:t>
            </a:fld>
            <a:endParaRPr lang="en-US" dirty="0"/>
          </a:p>
        </p:txBody>
      </p:sp>
    </p:spTree>
    <p:extLst>
      <p:ext uri="{BB962C8B-B14F-4D97-AF65-F5344CB8AC3E}">
        <p14:creationId xmlns:p14="http://schemas.microsoft.com/office/powerpoint/2010/main" val="2944213672"/>
      </p:ext>
    </p:extLst>
  </p:cSld>
  <p:clrMap bg1="lt1" tx1="dk1" bg2="lt2" tx2="dk2" accent1="accent1" accent2="accent2" accent3="accent3" accent4="accent4" accent5="accent5" accent6="accent6" hlink="hlink" folHlink="folHlink"/>
  <p:sldLayoutIdLst>
    <p:sldLayoutId id="2147483655" r:id="rId1"/>
    <p:sldLayoutId id="2147483660" r:id="rId2"/>
    <p:sldLayoutId id="2147483661" r:id="rId3"/>
    <p:sldLayoutId id="2147483667" r:id="rId4"/>
    <p:sldLayoutId id="2147483666" r:id="rId5"/>
    <p:sldLayoutId id="2147483668" r:id="rId6"/>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Layout" Target="../slideLayouts/slideLayout6.xml"/><Relationship Id="rId6" Type="http://schemas.openxmlformats.org/officeDocument/2006/relationships/image" Target="../media/image7.png"/><Relationship Id="rId5" Type="http://schemas.openxmlformats.org/officeDocument/2006/relationships/image" Target="../media/image6.svg"/><Relationship Id="rId10" Type="http://schemas.openxmlformats.org/officeDocument/2006/relationships/image" Target="../media/image11.svg"/><Relationship Id="rId4" Type="http://schemas.openxmlformats.org/officeDocument/2006/relationships/image" Target="../media/image5.png"/><Relationship Id="rId9"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E9C3344-5D53-D62C-7515-41F1A2B51FFD}"/>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2015513" y="946650"/>
            <a:ext cx="7772400" cy="1569094"/>
          </a:xfrm>
          <a:prstGeom prst="rect">
            <a:avLst/>
          </a:prstGeom>
        </p:spPr>
      </p:pic>
      <p:grpSp>
        <p:nvGrpSpPr>
          <p:cNvPr id="12" name="Group 11">
            <a:extLst>
              <a:ext uri="{FF2B5EF4-FFF2-40B4-BE49-F238E27FC236}">
                <a16:creationId xmlns:a16="http://schemas.microsoft.com/office/drawing/2014/main" id="{4FF65736-1723-02C0-2F0B-0C5B3EB90CC6}"/>
              </a:ext>
            </a:extLst>
          </p:cNvPr>
          <p:cNvGrpSpPr/>
          <p:nvPr/>
        </p:nvGrpSpPr>
        <p:grpSpPr>
          <a:xfrm>
            <a:off x="309183" y="3502759"/>
            <a:ext cx="11466271" cy="1380080"/>
            <a:chOff x="3779045" y="1539448"/>
            <a:chExt cx="4633911" cy="1380080"/>
          </a:xfrm>
        </p:grpSpPr>
        <p:grpSp>
          <p:nvGrpSpPr>
            <p:cNvPr id="13" name="Group 12">
              <a:extLst>
                <a:ext uri="{FF2B5EF4-FFF2-40B4-BE49-F238E27FC236}">
                  <a16:creationId xmlns:a16="http://schemas.microsoft.com/office/drawing/2014/main" id="{69649E9C-C6F5-91D8-1AB0-5150F406896A}"/>
                </a:ext>
              </a:extLst>
            </p:cNvPr>
            <p:cNvGrpSpPr/>
            <p:nvPr/>
          </p:nvGrpSpPr>
          <p:grpSpPr>
            <a:xfrm>
              <a:off x="3779045" y="1539448"/>
              <a:ext cx="4633911" cy="1357820"/>
              <a:chOff x="3328998" y="1545372"/>
              <a:chExt cx="4633911" cy="1638301"/>
            </a:xfrm>
          </p:grpSpPr>
          <p:cxnSp>
            <p:nvCxnSpPr>
              <p:cNvPr id="17" name="Straight Connector 16">
                <a:extLst>
                  <a:ext uri="{FF2B5EF4-FFF2-40B4-BE49-F238E27FC236}">
                    <a16:creationId xmlns:a16="http://schemas.microsoft.com/office/drawing/2014/main" id="{12EF8D19-5C01-E82E-40C5-4F6608C95F0B}"/>
                  </a:ext>
                </a:extLst>
              </p:cNvPr>
              <p:cNvCxnSpPr>
                <a:cxnSpLocks/>
              </p:cNvCxnSpPr>
              <p:nvPr/>
            </p:nvCxnSpPr>
            <p:spPr>
              <a:xfrm>
                <a:off x="3328998" y="1545372"/>
                <a:ext cx="0" cy="1638301"/>
              </a:xfrm>
              <a:prstGeom prst="line">
                <a:avLst/>
              </a:prstGeom>
              <a:ln w="117475">
                <a:solidFill>
                  <a:srgbClr val="CD9974"/>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725A2E3-A926-F614-17B9-6B627BA2169C}"/>
                  </a:ext>
                </a:extLst>
              </p:cNvPr>
              <p:cNvCxnSpPr>
                <a:cxnSpLocks/>
              </p:cNvCxnSpPr>
              <p:nvPr/>
            </p:nvCxnSpPr>
            <p:spPr>
              <a:xfrm>
                <a:off x="7962909" y="1545372"/>
                <a:ext cx="0" cy="1638298"/>
              </a:xfrm>
              <a:prstGeom prst="line">
                <a:avLst/>
              </a:prstGeom>
              <a:ln w="117475">
                <a:solidFill>
                  <a:srgbClr val="CD9974"/>
                </a:solidFill>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987B41F3-1F2E-64AC-6136-B5477D6D49C6}"/>
                </a:ext>
              </a:extLst>
            </p:cNvPr>
            <p:cNvGrpSpPr/>
            <p:nvPr/>
          </p:nvGrpSpPr>
          <p:grpSpPr>
            <a:xfrm>
              <a:off x="3856277" y="1541249"/>
              <a:ext cx="4500042" cy="1378279"/>
              <a:chOff x="3849131" y="1543050"/>
              <a:chExt cx="4500042" cy="1378279"/>
            </a:xfrm>
          </p:grpSpPr>
          <p:sp>
            <p:nvSpPr>
              <p:cNvPr id="15" name="TextBox 14">
                <a:extLst>
                  <a:ext uri="{FF2B5EF4-FFF2-40B4-BE49-F238E27FC236}">
                    <a16:creationId xmlns:a16="http://schemas.microsoft.com/office/drawing/2014/main" id="{E17A4700-5C1C-7FE7-67BA-19B3C0678810}"/>
                  </a:ext>
                </a:extLst>
              </p:cNvPr>
              <p:cNvSpPr txBox="1"/>
              <p:nvPr/>
            </p:nvSpPr>
            <p:spPr>
              <a:xfrm>
                <a:off x="3849131" y="1543050"/>
                <a:ext cx="4500042" cy="646331"/>
              </a:xfrm>
              <a:prstGeom prst="rect">
                <a:avLst/>
              </a:prstGeom>
              <a:noFill/>
            </p:spPr>
            <p:txBody>
              <a:bodyPr wrap="square" rtlCol="0">
                <a:spAutoFit/>
              </a:bodyPr>
              <a:lstStyle/>
              <a:p>
                <a:pPr algn="ctr"/>
                <a:r>
                  <a:rPr lang="en-US" sz="3600" b="1" dirty="0">
                    <a:solidFill>
                      <a:schemeClr val="accent2"/>
                    </a:solidFill>
                    <a:latin typeface="Heebo" pitchFamily="2" charset="-79"/>
                    <a:ea typeface="Open Sans" panose="020B0606030504020204" pitchFamily="34" charset="0"/>
                    <a:cs typeface="Heebo" pitchFamily="2" charset="-79"/>
                  </a:rPr>
                  <a:t>VEHICLE INTERACTION CONTROL IMPROVEMENT</a:t>
                </a:r>
                <a:endParaRPr lang="en-US" sz="5400" b="1" dirty="0">
                  <a:solidFill>
                    <a:schemeClr val="accent2"/>
                  </a:solidFill>
                  <a:latin typeface="Heebo" pitchFamily="2" charset="-79"/>
                  <a:ea typeface="Open Sans" panose="020B0606030504020204" pitchFamily="34" charset="0"/>
                  <a:cs typeface="Heebo" pitchFamily="2" charset="-79"/>
                </a:endParaRPr>
              </a:p>
            </p:txBody>
          </p:sp>
          <p:sp>
            <p:nvSpPr>
              <p:cNvPr id="16" name="TextBox 15">
                <a:extLst>
                  <a:ext uri="{FF2B5EF4-FFF2-40B4-BE49-F238E27FC236}">
                    <a16:creationId xmlns:a16="http://schemas.microsoft.com/office/drawing/2014/main" id="{9D8BE372-B714-E9D8-68F2-41CD3126E029}"/>
                  </a:ext>
                </a:extLst>
              </p:cNvPr>
              <p:cNvSpPr txBox="1"/>
              <p:nvPr/>
            </p:nvSpPr>
            <p:spPr>
              <a:xfrm>
                <a:off x="3904827" y="2398109"/>
                <a:ext cx="4357686" cy="523220"/>
              </a:xfrm>
              <a:prstGeom prst="rect">
                <a:avLst/>
              </a:prstGeom>
              <a:noFill/>
            </p:spPr>
            <p:txBody>
              <a:bodyPr wrap="square" rtlCol="0">
                <a:spAutoFit/>
              </a:bodyPr>
              <a:lstStyle/>
              <a:p>
                <a:pPr algn="ctr"/>
                <a:r>
                  <a:rPr lang="en-US" sz="2800" dirty="0">
                    <a:solidFill>
                      <a:srgbClr val="000000"/>
                    </a:solidFill>
                    <a:latin typeface="Heebo" pitchFamily="2" charset="-79"/>
                    <a:cs typeface="Heebo" pitchFamily="2" charset="-79"/>
                  </a:rPr>
                  <a:t>Surface Functional Performance Scenario Storyboards</a:t>
                </a:r>
              </a:p>
            </p:txBody>
          </p:sp>
        </p:grpSp>
      </p:grpSp>
    </p:spTree>
    <p:extLst>
      <p:ext uri="{BB962C8B-B14F-4D97-AF65-F5344CB8AC3E}">
        <p14:creationId xmlns:p14="http://schemas.microsoft.com/office/powerpoint/2010/main" val="4235195578"/>
      </p:ext>
    </p:extLst>
  </p:cSld>
  <p:clrMapOvr>
    <a:masterClrMapping/>
  </p:clrMapOvr>
  <mc:AlternateContent xmlns:mc="http://schemas.openxmlformats.org/markup-compatibility/2006" xmlns:p14="http://schemas.microsoft.com/office/powerpoint/2010/main">
    <mc:Choice Requires="p14">
      <p:transition spd="slow" p14:dur="2500" advClick="0" advTm="3000">
        <p14:glitter pattern="hexagon"/>
      </p:transition>
    </mc:Choice>
    <mc:Fallback xmlns="">
      <p:transition spd="slow" advClick="0" advTm="3000">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71B7271-5C34-368D-2B09-60003194E564}"/>
              </a:ext>
            </a:extLst>
          </p:cNvPr>
          <p:cNvSpPr/>
          <p:nvPr/>
        </p:nvSpPr>
        <p:spPr>
          <a:xfrm>
            <a:off x="3181612" y="0"/>
            <a:ext cx="9016652" cy="6858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34D207F8-7DD9-498E-8449-9472550500E4}"/>
              </a:ext>
            </a:extLst>
          </p:cNvPr>
          <p:cNvSpPr txBox="1"/>
          <p:nvPr/>
        </p:nvSpPr>
        <p:spPr>
          <a:xfrm>
            <a:off x="281837" y="919988"/>
            <a:ext cx="3400816" cy="1569660"/>
          </a:xfrm>
          <a:prstGeom prst="rect">
            <a:avLst/>
          </a:prstGeom>
          <a:noFill/>
        </p:spPr>
        <p:txBody>
          <a:bodyPr wrap="square" rtlCol="0">
            <a:spAutoFit/>
          </a:bodyPr>
          <a:lstStyle/>
          <a:p>
            <a:r>
              <a:rPr lang="en-US" sz="3200" b="1" dirty="0">
                <a:solidFill>
                  <a:schemeClr val="accent2"/>
                </a:solidFill>
                <a:latin typeface="Heebo Black" pitchFamily="2" charset="-79"/>
                <a:cs typeface="Heebo Black" pitchFamily="2" charset="-79"/>
              </a:rPr>
              <a:t>Adapting and Using </a:t>
            </a:r>
            <a:r>
              <a:rPr lang="en-US" sz="3200" b="1" dirty="0">
                <a:latin typeface="Heebo Black" pitchFamily="2" charset="-79"/>
                <a:cs typeface="Heebo Black" pitchFamily="2" charset="-79"/>
              </a:rPr>
              <a:t>the Storyboards</a:t>
            </a:r>
          </a:p>
        </p:txBody>
      </p:sp>
      <p:sp>
        <p:nvSpPr>
          <p:cNvPr id="2" name="Rectangle 4">
            <a:extLst>
              <a:ext uri="{FF2B5EF4-FFF2-40B4-BE49-F238E27FC236}">
                <a16:creationId xmlns:a16="http://schemas.microsoft.com/office/drawing/2014/main" id="{E1380D10-C7F6-EC92-3AEF-D01F8128DCE9}"/>
              </a:ext>
            </a:extLst>
          </p:cNvPr>
          <p:cNvSpPr>
            <a:spLocks noChangeArrowheads="1"/>
          </p:cNvSpPr>
          <p:nvPr>
            <p:custDataLst>
              <p:tags r:id="rId1"/>
            </p:custDataLst>
          </p:nvPr>
        </p:nvSpPr>
        <p:spPr bwMode="auto">
          <a:xfrm>
            <a:off x="3319397" y="105946"/>
            <a:ext cx="8736904" cy="6626794"/>
          </a:xfrm>
          <a:prstGeom prst="rect">
            <a:avLst/>
          </a:prstGeom>
        </p:spPr>
        <p:txBody>
          <a:bodyPr vert="horz" lIns="0" tIns="0" rIns="0" bIns="0" rtlCol="0" anchor="t" anchorCtr="0">
            <a:normAutofit fontScale="85000" lnSpcReduction="10000"/>
          </a:bodyPr>
          <a:lstStyle/>
          <a:p>
            <a:pPr fontAlgn="auto">
              <a:lnSpc>
                <a:spcPct val="140000"/>
              </a:lnSpc>
              <a:spcBef>
                <a:spcPts val="0"/>
              </a:spcBef>
              <a:spcAft>
                <a:spcPts val="1200"/>
              </a:spcAft>
              <a:defRPr/>
            </a:pPr>
            <a:r>
              <a:rPr lang="en-US" sz="2400" b="1" dirty="0">
                <a:solidFill>
                  <a:schemeClr val="bg1"/>
                </a:solidFill>
                <a:latin typeface="Montserrat" pitchFamily="2" charset="77"/>
              </a:rPr>
              <a:t>What are scenario storyboards? </a:t>
            </a:r>
          </a:p>
          <a:p>
            <a:pPr marL="207450" indent="-228600">
              <a:lnSpc>
                <a:spcPts val="1880"/>
              </a:lnSpc>
              <a:spcAft>
                <a:spcPts val="1200"/>
              </a:spcAft>
              <a:buFont typeface="Arial" panose="020B0604020202020204" pitchFamily="34" charset="0"/>
              <a:buChar char="•"/>
              <a:defRPr/>
            </a:pPr>
            <a:r>
              <a:rPr lang="en-US" sz="1600" dirty="0">
                <a:solidFill>
                  <a:schemeClr val="bg1"/>
                </a:solidFill>
                <a:latin typeface="Montserrat" pitchFamily="2" charset="77"/>
              </a:rPr>
              <a:t>The Functional Performance Scenario Storyboard approach was developed by an EMESRT Member Company to better understand the fatal vehicle interaction scenarios in a surface mine and to then compare the capability of vehicle interaction technologies to mitigate or eliminate the exposures detailed in the storyboards. This has enabled designers to better develop and install vehicle interaction technologies appropriate mobile equipment interactions at surface mines and recently adapted for Underground mines</a:t>
            </a:r>
          </a:p>
          <a:p>
            <a:pPr marL="207450" indent="-228600">
              <a:lnSpc>
                <a:spcPts val="1880"/>
              </a:lnSpc>
              <a:spcAft>
                <a:spcPts val="1200"/>
              </a:spcAft>
              <a:buFont typeface="Arial" panose="020B0604020202020204" pitchFamily="34" charset="0"/>
              <a:buChar char="•"/>
              <a:defRPr/>
            </a:pPr>
            <a:r>
              <a:rPr lang="en-US" sz="1600" dirty="0">
                <a:solidFill>
                  <a:schemeClr val="bg1"/>
                </a:solidFill>
                <a:latin typeface="Montserrat" pitchFamily="2" charset="77"/>
              </a:rPr>
              <a:t>They provide a visual and dynamic reference for equipment operators, technology suppliers, Vehicle Interaction Control Improvement project managers as they implement vehicle interaction intervention controls (EMESRT Levels 7, 8 and 9)</a:t>
            </a:r>
          </a:p>
          <a:p>
            <a:pPr marR="0" lvl="0" fontAlgn="auto">
              <a:lnSpc>
                <a:spcPct val="140000"/>
              </a:lnSpc>
              <a:spcBef>
                <a:spcPts val="1800"/>
              </a:spcBef>
              <a:spcAft>
                <a:spcPts val="1200"/>
              </a:spcAft>
              <a:buClrTx/>
              <a:buSzTx/>
              <a:tabLst/>
              <a:defRPr/>
            </a:pPr>
            <a:r>
              <a:rPr kumimoji="0" lang="en-US" sz="2400" b="1" i="0" u="none" strike="noStrike" cap="none" spc="0" normalizeH="0" baseline="0" noProof="0" dirty="0">
                <a:ln>
                  <a:noFill/>
                </a:ln>
                <a:solidFill>
                  <a:schemeClr val="bg1"/>
                </a:solidFill>
                <a:effectLst/>
                <a:uLnTx/>
                <a:uFillTx/>
                <a:latin typeface="Montserrat" pitchFamily="2" charset="77"/>
              </a:rPr>
              <a:t>How can I use the scenario storyboards?</a:t>
            </a:r>
          </a:p>
          <a:p>
            <a:pPr marL="207450" indent="-228600">
              <a:lnSpc>
                <a:spcPct val="120000"/>
              </a:lnSpc>
              <a:spcAft>
                <a:spcPts val="1200"/>
              </a:spcAft>
              <a:buFont typeface="Arial" panose="020B0604020202020204" pitchFamily="34" charset="0"/>
              <a:buChar char="•"/>
              <a:defRPr/>
            </a:pPr>
            <a:r>
              <a:rPr lang="en-US" sz="1600" dirty="0">
                <a:solidFill>
                  <a:schemeClr val="bg1"/>
                </a:solidFill>
                <a:latin typeface="Montserrat" pitchFamily="2" charset="77"/>
              </a:rPr>
              <a:t>Once downloaded, review each Storyboard in presentation mode</a:t>
            </a:r>
          </a:p>
          <a:p>
            <a:pPr marL="207450" indent="-228600">
              <a:lnSpc>
                <a:spcPct val="120000"/>
              </a:lnSpc>
              <a:spcAft>
                <a:spcPts val="1200"/>
              </a:spcAft>
              <a:buFont typeface="Arial" panose="020B0604020202020204" pitchFamily="34" charset="0"/>
              <a:buChar char="•"/>
              <a:defRPr/>
            </a:pPr>
            <a:r>
              <a:rPr lang="en-US" sz="1600" dirty="0">
                <a:solidFill>
                  <a:schemeClr val="bg1"/>
                </a:solidFill>
                <a:latin typeface="Montserrat" pitchFamily="2" charset="77"/>
              </a:rPr>
              <a:t>Use the Storyboards as a resource during </a:t>
            </a:r>
            <a:r>
              <a:rPr lang="en-US" sz="1600" i="1" dirty="0">
                <a:solidFill>
                  <a:schemeClr val="bg1"/>
                </a:solidFill>
                <a:latin typeface="Montserrat" pitchFamily="2" charset="77"/>
              </a:rPr>
              <a:t>Phase 4 – Vehicle Interaction Control Enhancement</a:t>
            </a:r>
          </a:p>
          <a:p>
            <a:pPr marL="207450" indent="-228600">
              <a:lnSpc>
                <a:spcPct val="120000"/>
              </a:lnSpc>
              <a:spcAft>
                <a:spcPts val="1200"/>
              </a:spcAft>
              <a:buFont typeface="Arial" panose="020B0604020202020204" pitchFamily="34" charset="0"/>
              <a:buChar char="•"/>
              <a:defRPr/>
            </a:pPr>
            <a:r>
              <a:rPr lang="en-US" sz="1600" dirty="0">
                <a:solidFill>
                  <a:schemeClr val="bg1"/>
                </a:solidFill>
                <a:latin typeface="Montserrat" pitchFamily="2" charset="77"/>
              </a:rPr>
              <a:t>As required, apply the specific scenario storyboards in your functional performance environment context to derive the configuration settings</a:t>
            </a:r>
          </a:p>
          <a:p>
            <a:pPr marR="0" lvl="0" fontAlgn="auto">
              <a:lnSpc>
                <a:spcPct val="140000"/>
              </a:lnSpc>
              <a:spcBef>
                <a:spcPts val="1800"/>
              </a:spcBef>
              <a:spcAft>
                <a:spcPts val="1200"/>
              </a:spcAft>
              <a:buClrTx/>
              <a:buSzTx/>
              <a:tabLst/>
              <a:defRPr/>
            </a:pPr>
            <a:r>
              <a:rPr kumimoji="0" lang="en-US" sz="2400" b="1" i="0" u="none" strike="noStrike" cap="none" spc="0" normalizeH="0" baseline="0" noProof="0" dirty="0">
                <a:ln>
                  <a:noFill/>
                </a:ln>
                <a:solidFill>
                  <a:schemeClr val="bg1"/>
                </a:solidFill>
                <a:effectLst/>
                <a:uLnTx/>
                <a:uFillTx/>
                <a:latin typeface="Montserrat" pitchFamily="2" charset="77"/>
              </a:rPr>
              <a:t>Generally, in the storyboards these definitions apply:</a:t>
            </a:r>
          </a:p>
          <a:p>
            <a:pPr marL="207450" indent="-228600">
              <a:lnSpc>
                <a:spcPct val="120000"/>
              </a:lnSpc>
              <a:spcAft>
                <a:spcPts val="1200"/>
              </a:spcAft>
              <a:buFont typeface="Arial" panose="020B0604020202020204" pitchFamily="34" charset="0"/>
              <a:buChar char="•"/>
              <a:defRPr/>
            </a:pPr>
            <a:r>
              <a:rPr lang="en-US" sz="1600" dirty="0">
                <a:solidFill>
                  <a:schemeClr val="bg1"/>
                </a:solidFill>
                <a:latin typeface="Montserrat" pitchFamily="2" charset="77"/>
              </a:rPr>
              <a:t>LO = Local Object (causing the interaction)</a:t>
            </a:r>
          </a:p>
          <a:p>
            <a:pPr marL="207450" indent="-228600">
              <a:lnSpc>
                <a:spcPct val="120000"/>
              </a:lnSpc>
              <a:spcAft>
                <a:spcPts val="1200"/>
              </a:spcAft>
              <a:buFont typeface="Arial" panose="020B0604020202020204" pitchFamily="34" charset="0"/>
              <a:buChar char="•"/>
              <a:defRPr/>
            </a:pPr>
            <a:r>
              <a:rPr lang="en-US" sz="1600" dirty="0">
                <a:solidFill>
                  <a:schemeClr val="bg1"/>
                </a:solidFill>
                <a:latin typeface="Montserrat" pitchFamily="2" charset="77"/>
              </a:rPr>
              <a:t>RO = Remote Object (affected by the interaction)</a:t>
            </a:r>
          </a:p>
        </p:txBody>
      </p:sp>
    </p:spTree>
    <p:extLst>
      <p:ext uri="{BB962C8B-B14F-4D97-AF65-F5344CB8AC3E}">
        <p14:creationId xmlns:p14="http://schemas.microsoft.com/office/powerpoint/2010/main" val="3550180233"/>
      </p:ext>
    </p:extLst>
  </p:cSld>
  <p:clrMapOvr>
    <a:masterClrMapping/>
  </p:clrMapOvr>
  <mc:AlternateContent xmlns:mc="http://schemas.openxmlformats.org/markup-compatibility/2006" xmlns:p14="http://schemas.microsoft.com/office/powerpoint/2010/main">
    <mc:Choice Requires="p14">
      <p:transition spd="slow" p14:dur="1500" advClick="0" advTm="8000">
        <p:pull/>
      </p:transition>
    </mc:Choice>
    <mc:Fallback xmlns="">
      <p:transition spd="slow" advClick="0" advTm="8000">
        <p:pull/>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3B35D91-90AC-A7F5-C196-ECFE0698D207}"/>
              </a:ext>
            </a:extLst>
          </p:cNvPr>
          <p:cNvSpPr/>
          <p:nvPr/>
        </p:nvSpPr>
        <p:spPr>
          <a:xfrm>
            <a:off x="0" y="-5536"/>
            <a:ext cx="12191999" cy="12957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439AAA5E-0565-D78F-FC47-8D2B840A9C1D}"/>
              </a:ext>
            </a:extLst>
          </p:cNvPr>
          <p:cNvSpPr txBox="1"/>
          <p:nvPr/>
        </p:nvSpPr>
        <p:spPr>
          <a:xfrm>
            <a:off x="8345370" y="6216997"/>
            <a:ext cx="3990680" cy="415498"/>
          </a:xfrm>
          <a:prstGeom prst="rect">
            <a:avLst/>
          </a:prstGeom>
          <a:noFill/>
        </p:spPr>
        <p:txBody>
          <a:bodyPr wrap="square" rtlCol="0">
            <a:spAutoFit/>
          </a:bodyPr>
          <a:lstStyle/>
          <a:p>
            <a:r>
              <a:rPr lang="en-US" sz="1000" dirty="0">
                <a:solidFill>
                  <a:srgbClr val="FF0000"/>
                </a:solidFill>
                <a:cs typeface="Heebo" pitchFamily="2" charset="-79"/>
              </a:rPr>
              <a:t>NOTE: the text in red provides examples of parameters that should be considered during development and site configuration.  </a:t>
            </a:r>
          </a:p>
        </p:txBody>
      </p:sp>
      <p:sp>
        <p:nvSpPr>
          <p:cNvPr id="2" name="Title 1">
            <a:extLst>
              <a:ext uri="{FF2B5EF4-FFF2-40B4-BE49-F238E27FC236}">
                <a16:creationId xmlns:a16="http://schemas.microsoft.com/office/drawing/2014/main" id="{522F9747-E51B-7443-8B68-B865CD5E2B53}"/>
              </a:ext>
            </a:extLst>
          </p:cNvPr>
          <p:cNvSpPr>
            <a:spLocks noGrp="1"/>
          </p:cNvSpPr>
          <p:nvPr>
            <p:ph type="title"/>
          </p:nvPr>
        </p:nvSpPr>
        <p:spPr>
          <a:xfrm>
            <a:off x="185738" y="365125"/>
            <a:ext cx="12006262" cy="795081"/>
          </a:xfrm>
        </p:spPr>
        <p:txBody>
          <a:bodyPr>
            <a:noAutofit/>
          </a:bodyPr>
          <a:lstStyle/>
          <a:p>
            <a:r>
              <a:rPr lang="en-US" sz="3600" dirty="0">
                <a:latin typeface="Heebo" pitchFamily="2" charset="-79"/>
                <a:cs typeface="Heebo" pitchFamily="2" charset="-79"/>
              </a:rPr>
              <a:t>User interface behaviour </a:t>
            </a:r>
            <a:r>
              <a:rPr lang="en-US" sz="3600" dirty="0">
                <a:solidFill>
                  <a:schemeClr val="bg1"/>
                </a:solidFill>
                <a:latin typeface="Heebo" pitchFamily="2" charset="-79"/>
                <a:cs typeface="Heebo" pitchFamily="2" charset="-79"/>
              </a:rPr>
              <a:t>– vehicle to vehicle interaction</a:t>
            </a:r>
          </a:p>
        </p:txBody>
      </p:sp>
      <p:sp>
        <p:nvSpPr>
          <p:cNvPr id="3" name="Content Placeholder 2">
            <a:extLst>
              <a:ext uri="{FF2B5EF4-FFF2-40B4-BE49-F238E27FC236}">
                <a16:creationId xmlns:a16="http://schemas.microsoft.com/office/drawing/2014/main" id="{75B623BA-548A-6F45-847C-E26B4349D9B7}"/>
              </a:ext>
            </a:extLst>
          </p:cNvPr>
          <p:cNvSpPr>
            <a:spLocks noGrp="1"/>
          </p:cNvSpPr>
          <p:nvPr>
            <p:ph idx="1"/>
          </p:nvPr>
        </p:nvSpPr>
        <p:spPr>
          <a:xfrm>
            <a:off x="217536" y="1351768"/>
            <a:ext cx="2489293" cy="4351338"/>
          </a:xfrm>
        </p:spPr>
        <p:txBody>
          <a:bodyPr/>
          <a:lstStyle/>
          <a:p>
            <a:pPr marL="0" indent="0">
              <a:buNone/>
            </a:pPr>
            <a:r>
              <a:rPr lang="en-US" dirty="0">
                <a:cs typeface="Heebo" pitchFamily="2" charset="-79"/>
              </a:rPr>
              <a:t>Nil Interaction</a:t>
            </a:r>
          </a:p>
          <a:p>
            <a:pPr>
              <a:lnSpc>
                <a:spcPts val="1820"/>
              </a:lnSpc>
            </a:pPr>
            <a:r>
              <a:rPr lang="en-US" sz="1600" dirty="0">
                <a:solidFill>
                  <a:srgbClr val="FF0000"/>
                </a:solidFill>
                <a:cs typeface="Heebo" pitchFamily="2" charset="-79"/>
              </a:rPr>
              <a:t>No VI event audibles</a:t>
            </a:r>
          </a:p>
          <a:p>
            <a:pPr>
              <a:lnSpc>
                <a:spcPts val="1820"/>
              </a:lnSpc>
            </a:pPr>
            <a:r>
              <a:rPr lang="en-US" sz="1600" dirty="0">
                <a:solidFill>
                  <a:srgbClr val="FF0000"/>
                </a:solidFill>
                <a:cs typeface="Heebo" pitchFamily="2" charset="-79"/>
              </a:rPr>
              <a:t>No detection beams visible</a:t>
            </a:r>
          </a:p>
        </p:txBody>
      </p:sp>
      <p:sp>
        <p:nvSpPr>
          <p:cNvPr id="4" name="Content Placeholder 2">
            <a:extLst>
              <a:ext uri="{FF2B5EF4-FFF2-40B4-BE49-F238E27FC236}">
                <a16:creationId xmlns:a16="http://schemas.microsoft.com/office/drawing/2014/main" id="{F23ACCB5-240E-0647-BDE9-AED4D9B6DB7D}"/>
              </a:ext>
            </a:extLst>
          </p:cNvPr>
          <p:cNvSpPr txBox="1">
            <a:spLocks/>
          </p:cNvSpPr>
          <p:nvPr/>
        </p:nvSpPr>
        <p:spPr>
          <a:xfrm>
            <a:off x="2996379" y="1334012"/>
            <a:ext cx="5582625"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cs typeface="Heebo" pitchFamily="2" charset="-79"/>
              </a:rPr>
              <a:t>Alert</a:t>
            </a:r>
          </a:p>
          <a:p>
            <a:pPr>
              <a:lnSpc>
                <a:spcPts val="1820"/>
              </a:lnSpc>
            </a:pPr>
            <a:r>
              <a:rPr lang="en-US" sz="1600" dirty="0">
                <a:solidFill>
                  <a:srgbClr val="FF0000"/>
                </a:solidFill>
                <a:cs typeface="Heebo" pitchFamily="2" charset="-79"/>
              </a:rPr>
              <a:t>Occurs when outer to outer or inner to outer/outer to inner beams on two vehicles intersect</a:t>
            </a:r>
          </a:p>
          <a:p>
            <a:pPr>
              <a:lnSpc>
                <a:spcPts val="1820"/>
              </a:lnSpc>
            </a:pPr>
            <a:r>
              <a:rPr lang="en-US" sz="1600" dirty="0">
                <a:solidFill>
                  <a:srgbClr val="FF0000"/>
                </a:solidFill>
                <a:cs typeface="Heebo" pitchFamily="2" charset="-79"/>
              </a:rPr>
              <a:t>User interface zooms to the interaction</a:t>
            </a:r>
          </a:p>
          <a:p>
            <a:pPr>
              <a:lnSpc>
                <a:spcPts val="1820"/>
              </a:lnSpc>
            </a:pPr>
            <a:r>
              <a:rPr lang="en-US" sz="1600" dirty="0">
                <a:solidFill>
                  <a:srgbClr val="FF0000"/>
                </a:solidFill>
                <a:cs typeface="Heebo" pitchFamily="2" charset="-79"/>
              </a:rPr>
              <a:t>Detection beams on both vehicles turn yellow then red</a:t>
            </a:r>
          </a:p>
          <a:p>
            <a:pPr>
              <a:lnSpc>
                <a:spcPts val="1820"/>
              </a:lnSpc>
            </a:pPr>
            <a:r>
              <a:rPr lang="en-US" sz="1600" dirty="0">
                <a:solidFill>
                  <a:srgbClr val="FF0000"/>
                </a:solidFill>
                <a:cs typeface="Heebo" pitchFamily="2" charset="-79"/>
              </a:rPr>
              <a:t>Default audible message of “Alert” is activated, definitive audibles used for specific VI scenarios</a:t>
            </a:r>
          </a:p>
          <a:p>
            <a:pPr>
              <a:lnSpc>
                <a:spcPts val="1820"/>
              </a:lnSpc>
            </a:pPr>
            <a:r>
              <a:rPr lang="en-US" sz="1600" dirty="0">
                <a:solidFill>
                  <a:srgbClr val="FF0000"/>
                </a:solidFill>
                <a:cs typeface="Heebo" pitchFamily="2" charset="-79"/>
              </a:rPr>
              <a:t>Audible played twice then a 3 second gap and repeated until situation rectified</a:t>
            </a:r>
          </a:p>
          <a:p>
            <a:pPr>
              <a:lnSpc>
                <a:spcPts val="1820"/>
              </a:lnSpc>
            </a:pPr>
            <a:r>
              <a:rPr lang="en-US" sz="1600" dirty="0">
                <a:solidFill>
                  <a:srgbClr val="FF0000"/>
                </a:solidFill>
                <a:cs typeface="Heebo" pitchFamily="2" charset="-79"/>
              </a:rPr>
              <a:t>Audible played at 5 dB above ambient noise</a:t>
            </a:r>
          </a:p>
        </p:txBody>
      </p:sp>
      <p:sp>
        <p:nvSpPr>
          <p:cNvPr id="6" name="Content Placeholder 2">
            <a:extLst>
              <a:ext uri="{FF2B5EF4-FFF2-40B4-BE49-F238E27FC236}">
                <a16:creationId xmlns:a16="http://schemas.microsoft.com/office/drawing/2014/main" id="{E285740F-A6FF-324E-9A94-662DA8120825}"/>
              </a:ext>
            </a:extLst>
          </p:cNvPr>
          <p:cNvSpPr txBox="1">
            <a:spLocks/>
          </p:cNvSpPr>
          <p:nvPr/>
        </p:nvSpPr>
        <p:spPr>
          <a:xfrm>
            <a:off x="8577492" y="1351768"/>
            <a:ext cx="3396972" cy="468504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cs typeface="Heebo" pitchFamily="2" charset="-79"/>
              </a:rPr>
              <a:t>Alarm</a:t>
            </a:r>
          </a:p>
          <a:p>
            <a:pPr>
              <a:lnSpc>
                <a:spcPts val="1840"/>
              </a:lnSpc>
            </a:pPr>
            <a:r>
              <a:rPr lang="en-US" sz="1700" dirty="0">
                <a:solidFill>
                  <a:srgbClr val="FF0000"/>
                </a:solidFill>
                <a:cs typeface="Heebo" pitchFamily="2" charset="-79"/>
              </a:rPr>
              <a:t>Occurs when inner beam intersects with inner beam or body of another vehicle</a:t>
            </a:r>
          </a:p>
          <a:p>
            <a:pPr>
              <a:lnSpc>
                <a:spcPts val="1840"/>
              </a:lnSpc>
            </a:pPr>
            <a:r>
              <a:rPr lang="en-US" sz="1700" dirty="0">
                <a:solidFill>
                  <a:srgbClr val="FF0000"/>
                </a:solidFill>
                <a:cs typeface="Heebo" pitchFamily="2" charset="-79"/>
              </a:rPr>
              <a:t>User interface remains bright and zoomed to the interaction</a:t>
            </a:r>
          </a:p>
          <a:p>
            <a:pPr>
              <a:lnSpc>
                <a:spcPts val="1840"/>
              </a:lnSpc>
            </a:pPr>
            <a:r>
              <a:rPr lang="en-US" sz="1700" dirty="0">
                <a:solidFill>
                  <a:srgbClr val="FF0000"/>
                </a:solidFill>
                <a:cs typeface="Heebo" pitchFamily="2" charset="-79"/>
              </a:rPr>
              <a:t>Detection beams on both vehicles remain red</a:t>
            </a:r>
          </a:p>
          <a:p>
            <a:pPr>
              <a:lnSpc>
                <a:spcPts val="1840"/>
              </a:lnSpc>
            </a:pPr>
            <a:r>
              <a:rPr lang="en-US" sz="1700" dirty="0">
                <a:solidFill>
                  <a:srgbClr val="FF0000"/>
                </a:solidFill>
                <a:cs typeface="Heebo" pitchFamily="2" charset="-79"/>
              </a:rPr>
              <a:t>Default audible of “Shrill”, “Stop”, definitive audibles used for specific VI scenarios</a:t>
            </a:r>
          </a:p>
          <a:p>
            <a:pPr>
              <a:lnSpc>
                <a:spcPts val="1840"/>
              </a:lnSpc>
            </a:pPr>
            <a:r>
              <a:rPr lang="en-US" sz="1700" dirty="0">
                <a:solidFill>
                  <a:srgbClr val="FF0000"/>
                </a:solidFill>
                <a:cs typeface="Heebo" pitchFamily="2" charset="-79"/>
              </a:rPr>
              <a:t>Audible without the “Shrill” repeated with 1.5 second gap until situation rectified</a:t>
            </a:r>
          </a:p>
          <a:p>
            <a:pPr>
              <a:lnSpc>
                <a:spcPts val="1840"/>
              </a:lnSpc>
            </a:pPr>
            <a:r>
              <a:rPr lang="en-US" sz="1700" dirty="0">
                <a:solidFill>
                  <a:srgbClr val="FF0000"/>
                </a:solidFill>
                <a:cs typeface="Heebo" pitchFamily="2" charset="-79"/>
              </a:rPr>
              <a:t>Audible played at 10 dB above ambient noise</a:t>
            </a:r>
          </a:p>
        </p:txBody>
      </p:sp>
      <p:pic>
        <p:nvPicPr>
          <p:cNvPr id="8" name="Picture 7">
            <a:extLst>
              <a:ext uri="{FF2B5EF4-FFF2-40B4-BE49-F238E27FC236}">
                <a16:creationId xmlns:a16="http://schemas.microsoft.com/office/drawing/2014/main" id="{A86C761D-CFB3-D8DB-9D03-48CF5C9D7ED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7287" y="4914219"/>
            <a:ext cx="7242775" cy="1805363"/>
          </a:xfrm>
          <a:prstGeom prst="rect">
            <a:avLst/>
          </a:prstGeom>
        </p:spPr>
      </p:pic>
    </p:spTree>
    <p:extLst>
      <p:ext uri="{BB962C8B-B14F-4D97-AF65-F5344CB8AC3E}">
        <p14:creationId xmlns:p14="http://schemas.microsoft.com/office/powerpoint/2010/main" val="322045676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Click="0" advTm="15000">
        <p15:prstTrans prst="peelOff"/>
      </p:transition>
    </mc:Choice>
    <mc:Fallback xmlns="">
      <p:transition spd="slow" advClick="0" advTm="15000">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8689CAA-0899-2F48-BFDD-1D9B1868DC47}"/>
              </a:ext>
            </a:extLst>
          </p:cNvPr>
          <p:cNvSpPr>
            <a:spLocks noGrp="1"/>
          </p:cNvSpPr>
          <p:nvPr>
            <p:ph idx="1"/>
          </p:nvPr>
        </p:nvSpPr>
        <p:spPr>
          <a:xfrm>
            <a:off x="7110984" y="897244"/>
            <a:ext cx="4833730" cy="5687804"/>
          </a:xfrm>
        </p:spPr>
        <p:txBody>
          <a:bodyPr>
            <a:normAutofit fontScale="92500" lnSpcReduction="10000"/>
          </a:bodyPr>
          <a:lstStyle/>
          <a:p>
            <a:r>
              <a:rPr lang="en-US" sz="1800" dirty="0"/>
              <a:t>LO (LV) approaches a </a:t>
            </a:r>
            <a:r>
              <a:rPr lang="en-US" sz="1800">
                <a:solidFill>
                  <a:srgbClr val="FF0000"/>
                </a:solidFill>
              </a:rPr>
              <a:t>formal T-intersection </a:t>
            </a:r>
            <a:r>
              <a:rPr lang="en-US" sz="1800" dirty="0">
                <a:solidFill>
                  <a:srgbClr val="FF0000"/>
                </a:solidFill>
              </a:rPr>
              <a:t>configured with an intersection geo-fence</a:t>
            </a:r>
          </a:p>
          <a:p>
            <a:r>
              <a:rPr lang="en-US" sz="1800" dirty="0"/>
              <a:t>When the </a:t>
            </a:r>
            <a:r>
              <a:rPr lang="en-US" sz="1800" dirty="0">
                <a:solidFill>
                  <a:srgbClr val="FF0000"/>
                </a:solidFill>
              </a:rPr>
              <a:t>inner beam </a:t>
            </a:r>
            <a:r>
              <a:rPr lang="en-US" sz="1800" dirty="0"/>
              <a:t>of the LO (LV) enters the geo-fenced intersection (</a:t>
            </a:r>
            <a:r>
              <a:rPr lang="en-US" sz="1800" dirty="0">
                <a:solidFill>
                  <a:srgbClr val="FF0000"/>
                </a:solidFill>
              </a:rPr>
              <a:t>30 m from intersection</a:t>
            </a:r>
            <a:r>
              <a:rPr lang="en-US" sz="1800" dirty="0"/>
              <a:t>) CAS will scan for other CAS units that are located within the geo-fence</a:t>
            </a:r>
          </a:p>
          <a:p>
            <a:r>
              <a:rPr lang="en-US" sz="1800" dirty="0">
                <a:solidFill>
                  <a:srgbClr val="FF0000"/>
                </a:solidFill>
              </a:rPr>
              <a:t>The geo-fence will have a speed limit of 40 km/h applied and will be activate when LV’s and MV’s enter regardless of the presence of an RO</a:t>
            </a:r>
          </a:p>
          <a:p>
            <a:r>
              <a:rPr lang="en-US" sz="1800" dirty="0"/>
              <a:t>If T-intersection geo-fence becomes occupied by </a:t>
            </a:r>
            <a:r>
              <a:rPr lang="en-US" sz="1800" dirty="0">
                <a:solidFill>
                  <a:srgbClr val="FF0000"/>
                </a:solidFill>
              </a:rPr>
              <a:t>the body of any other vehicle </a:t>
            </a:r>
            <a:r>
              <a:rPr lang="en-US" sz="1800" dirty="0"/>
              <a:t>whilst the LO (LV) is in the intersection the following will occur:</a:t>
            </a:r>
          </a:p>
          <a:p>
            <a:pPr lvl="1">
              <a:buFont typeface="Courier New" panose="02070309020205020404" pitchFamily="49" charset="0"/>
              <a:buChar char="o"/>
            </a:pPr>
            <a:r>
              <a:rPr lang="en-US" sz="1400" dirty="0">
                <a:solidFill>
                  <a:srgbClr val="FF0000"/>
                </a:solidFill>
              </a:rPr>
              <a:t>User interface will brighten in LO and RO’s</a:t>
            </a:r>
          </a:p>
          <a:p>
            <a:pPr lvl="1">
              <a:buFont typeface="Courier New" panose="02070309020205020404" pitchFamily="49" charset="0"/>
              <a:buChar char="o"/>
            </a:pPr>
            <a:r>
              <a:rPr lang="en-US" sz="1400" dirty="0">
                <a:solidFill>
                  <a:srgbClr val="FF0000"/>
                </a:solidFill>
              </a:rPr>
              <a:t>Audible message of “Give Way” repeated twice will only activate in LV designated vehicles not in HV’s</a:t>
            </a:r>
          </a:p>
          <a:p>
            <a:r>
              <a:rPr lang="en-US" sz="1800" dirty="0">
                <a:solidFill>
                  <a:srgbClr val="FF0000"/>
                </a:solidFill>
              </a:rPr>
              <a:t>If the LO (HV or LV) becomes the only vehicle inside the geo-fenced intersection or departs the geo-fenced intersection the user interface will then dim</a:t>
            </a:r>
          </a:p>
          <a:p>
            <a:r>
              <a:rPr lang="en-US" sz="1800" dirty="0">
                <a:solidFill>
                  <a:srgbClr val="FF0000"/>
                </a:solidFill>
              </a:rPr>
              <a:t>Audible message will activate once only per entry into geo-fence</a:t>
            </a:r>
          </a:p>
          <a:p>
            <a:pPr marL="0" lvl="0" indent="0">
              <a:buNone/>
            </a:pPr>
            <a:r>
              <a:rPr lang="en-US" sz="1200" dirty="0">
                <a:solidFill>
                  <a:srgbClr val="FF0000"/>
                </a:solidFill>
              </a:rPr>
              <a:t>Applicable for LV’s and MVs when they are the LO.</a:t>
            </a:r>
          </a:p>
          <a:p>
            <a:pPr marL="0" lvl="0" indent="0">
              <a:buNone/>
            </a:pPr>
            <a:r>
              <a:rPr lang="en-US" sz="1200" dirty="0">
                <a:solidFill>
                  <a:srgbClr val="FF0000"/>
                </a:solidFill>
              </a:rPr>
              <a:t>Not applicable for dozers, drills and tracked loading units when they are the RO.</a:t>
            </a:r>
            <a:endParaRPr lang="en-US" sz="1800" dirty="0">
              <a:solidFill>
                <a:srgbClr val="FF0000"/>
              </a:solidFill>
            </a:endParaRPr>
          </a:p>
        </p:txBody>
      </p:sp>
      <p:sp>
        <p:nvSpPr>
          <p:cNvPr id="4" name="Freeform 3">
            <a:extLst>
              <a:ext uri="{FF2B5EF4-FFF2-40B4-BE49-F238E27FC236}">
                <a16:creationId xmlns:a16="http://schemas.microsoft.com/office/drawing/2014/main" id="{BBEDD9DB-1296-7948-885B-98E4AE9AF856}"/>
              </a:ext>
            </a:extLst>
          </p:cNvPr>
          <p:cNvSpPr/>
          <p:nvPr/>
        </p:nvSpPr>
        <p:spPr>
          <a:xfrm>
            <a:off x="178903" y="976204"/>
            <a:ext cx="6708913" cy="4154557"/>
          </a:xfrm>
          <a:custGeom>
            <a:avLst/>
            <a:gdLst>
              <a:gd name="connsiteX0" fmla="*/ 19878 w 6679096"/>
              <a:gd name="connsiteY0" fmla="*/ 0 h 4591878"/>
              <a:gd name="connsiteX1" fmla="*/ 0 w 6679096"/>
              <a:gd name="connsiteY1" fmla="*/ 2087218 h 4591878"/>
              <a:gd name="connsiteX2" fmla="*/ 2246244 w 6679096"/>
              <a:gd name="connsiteY2" fmla="*/ 2077278 h 4591878"/>
              <a:gd name="connsiteX3" fmla="*/ 2276061 w 6679096"/>
              <a:gd name="connsiteY3" fmla="*/ 4591878 h 4591878"/>
              <a:gd name="connsiteX4" fmla="*/ 4671392 w 6679096"/>
              <a:gd name="connsiteY4" fmla="*/ 4591878 h 4591878"/>
              <a:gd name="connsiteX5" fmla="*/ 4641574 w 6679096"/>
              <a:gd name="connsiteY5" fmla="*/ 2057400 h 4591878"/>
              <a:gd name="connsiteX6" fmla="*/ 6679096 w 6679096"/>
              <a:gd name="connsiteY6" fmla="*/ 2057400 h 4591878"/>
              <a:gd name="connsiteX7" fmla="*/ 6669157 w 6679096"/>
              <a:gd name="connsiteY7" fmla="*/ 109331 h 4591878"/>
              <a:gd name="connsiteX8" fmla="*/ 19878 w 6679096"/>
              <a:gd name="connsiteY8" fmla="*/ 0 h 4591878"/>
              <a:gd name="connsiteX0" fmla="*/ 19878 w 6679096"/>
              <a:gd name="connsiteY0" fmla="*/ 0 h 4591878"/>
              <a:gd name="connsiteX1" fmla="*/ 0 w 6679096"/>
              <a:gd name="connsiteY1" fmla="*/ 2087218 h 4591878"/>
              <a:gd name="connsiteX2" fmla="*/ 2246244 w 6679096"/>
              <a:gd name="connsiteY2" fmla="*/ 2077278 h 4591878"/>
              <a:gd name="connsiteX3" fmla="*/ 2276061 w 6679096"/>
              <a:gd name="connsiteY3" fmla="*/ 4591878 h 4591878"/>
              <a:gd name="connsiteX4" fmla="*/ 4671392 w 6679096"/>
              <a:gd name="connsiteY4" fmla="*/ 4591878 h 4591878"/>
              <a:gd name="connsiteX5" fmla="*/ 4641574 w 6679096"/>
              <a:gd name="connsiteY5" fmla="*/ 2057400 h 4591878"/>
              <a:gd name="connsiteX6" fmla="*/ 6679096 w 6679096"/>
              <a:gd name="connsiteY6" fmla="*/ 2057400 h 4591878"/>
              <a:gd name="connsiteX7" fmla="*/ 6659263 w 6679096"/>
              <a:gd name="connsiteY7" fmla="*/ 10464 h 4591878"/>
              <a:gd name="connsiteX8" fmla="*/ 19878 w 6679096"/>
              <a:gd name="connsiteY8" fmla="*/ 0 h 4591878"/>
              <a:gd name="connsiteX0" fmla="*/ 19878 w 6679096"/>
              <a:gd name="connsiteY0" fmla="*/ 0 h 4591878"/>
              <a:gd name="connsiteX1" fmla="*/ 0 w 6679096"/>
              <a:gd name="connsiteY1" fmla="*/ 2087218 h 4591878"/>
              <a:gd name="connsiteX2" fmla="*/ 2295719 w 6679096"/>
              <a:gd name="connsiteY2" fmla="*/ 2099248 h 4591878"/>
              <a:gd name="connsiteX3" fmla="*/ 2276061 w 6679096"/>
              <a:gd name="connsiteY3" fmla="*/ 4591878 h 4591878"/>
              <a:gd name="connsiteX4" fmla="*/ 4671392 w 6679096"/>
              <a:gd name="connsiteY4" fmla="*/ 4591878 h 4591878"/>
              <a:gd name="connsiteX5" fmla="*/ 4641574 w 6679096"/>
              <a:gd name="connsiteY5" fmla="*/ 2057400 h 4591878"/>
              <a:gd name="connsiteX6" fmla="*/ 6679096 w 6679096"/>
              <a:gd name="connsiteY6" fmla="*/ 2057400 h 4591878"/>
              <a:gd name="connsiteX7" fmla="*/ 6659263 w 6679096"/>
              <a:gd name="connsiteY7" fmla="*/ 10464 h 4591878"/>
              <a:gd name="connsiteX8" fmla="*/ 19878 w 6679096"/>
              <a:gd name="connsiteY8" fmla="*/ 0 h 4591878"/>
              <a:gd name="connsiteX0" fmla="*/ 19878 w 6679096"/>
              <a:gd name="connsiteY0" fmla="*/ 0 h 4591878"/>
              <a:gd name="connsiteX1" fmla="*/ 0 w 6679096"/>
              <a:gd name="connsiteY1" fmla="*/ 2087218 h 4591878"/>
              <a:gd name="connsiteX2" fmla="*/ 2275929 w 6679096"/>
              <a:gd name="connsiteY2" fmla="*/ 2110233 h 4591878"/>
              <a:gd name="connsiteX3" fmla="*/ 2276061 w 6679096"/>
              <a:gd name="connsiteY3" fmla="*/ 4591878 h 4591878"/>
              <a:gd name="connsiteX4" fmla="*/ 4671392 w 6679096"/>
              <a:gd name="connsiteY4" fmla="*/ 4591878 h 4591878"/>
              <a:gd name="connsiteX5" fmla="*/ 4641574 w 6679096"/>
              <a:gd name="connsiteY5" fmla="*/ 2057400 h 4591878"/>
              <a:gd name="connsiteX6" fmla="*/ 6679096 w 6679096"/>
              <a:gd name="connsiteY6" fmla="*/ 2057400 h 4591878"/>
              <a:gd name="connsiteX7" fmla="*/ 6659263 w 6679096"/>
              <a:gd name="connsiteY7" fmla="*/ 10464 h 4591878"/>
              <a:gd name="connsiteX8" fmla="*/ 19878 w 6679096"/>
              <a:gd name="connsiteY8" fmla="*/ 0 h 4591878"/>
              <a:gd name="connsiteX0" fmla="*/ 19878 w 6679096"/>
              <a:gd name="connsiteY0" fmla="*/ 0 h 4591878"/>
              <a:gd name="connsiteX1" fmla="*/ 0 w 6679096"/>
              <a:gd name="connsiteY1" fmla="*/ 2087218 h 4591878"/>
              <a:gd name="connsiteX2" fmla="*/ 2275929 w 6679096"/>
              <a:gd name="connsiteY2" fmla="*/ 2110233 h 4591878"/>
              <a:gd name="connsiteX3" fmla="*/ 2276061 w 6679096"/>
              <a:gd name="connsiteY3" fmla="*/ 4591878 h 4591878"/>
              <a:gd name="connsiteX4" fmla="*/ 4671392 w 6679096"/>
              <a:gd name="connsiteY4" fmla="*/ 4591878 h 4591878"/>
              <a:gd name="connsiteX5" fmla="*/ 4661364 w 6679096"/>
              <a:gd name="connsiteY5" fmla="*/ 2068386 h 4591878"/>
              <a:gd name="connsiteX6" fmla="*/ 6679096 w 6679096"/>
              <a:gd name="connsiteY6" fmla="*/ 2057400 h 4591878"/>
              <a:gd name="connsiteX7" fmla="*/ 6659263 w 6679096"/>
              <a:gd name="connsiteY7" fmla="*/ 10464 h 4591878"/>
              <a:gd name="connsiteX8" fmla="*/ 19878 w 6679096"/>
              <a:gd name="connsiteY8" fmla="*/ 0 h 4591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79096" h="4591878">
                <a:moveTo>
                  <a:pt x="19878" y="0"/>
                </a:moveTo>
                <a:lnTo>
                  <a:pt x="0" y="2087218"/>
                </a:lnTo>
                <a:lnTo>
                  <a:pt x="2275929" y="2110233"/>
                </a:lnTo>
                <a:lnTo>
                  <a:pt x="2276061" y="4591878"/>
                </a:lnTo>
                <a:lnTo>
                  <a:pt x="4671392" y="4591878"/>
                </a:lnTo>
                <a:cubicBezTo>
                  <a:pt x="4668049" y="3750714"/>
                  <a:pt x="4664707" y="2909550"/>
                  <a:pt x="4661364" y="2068386"/>
                </a:cubicBezTo>
                <a:lnTo>
                  <a:pt x="6679096" y="2057400"/>
                </a:lnTo>
                <a:lnTo>
                  <a:pt x="6659263" y="10464"/>
                </a:lnTo>
                <a:lnTo>
                  <a:pt x="19878" y="0"/>
                </a:lnTo>
                <a:close/>
              </a:path>
            </a:pathLst>
          </a:custGeom>
          <a:blipFill>
            <a:blip r:embed="rId2"/>
            <a:tile tx="0" ty="0" sx="100000" sy="100000" flip="none" algn="tl"/>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 name="Group 4">
            <a:extLst>
              <a:ext uri="{FF2B5EF4-FFF2-40B4-BE49-F238E27FC236}">
                <a16:creationId xmlns:a16="http://schemas.microsoft.com/office/drawing/2014/main" id="{37FE1DF1-7704-C44F-BC7F-22F2583D044E}"/>
              </a:ext>
            </a:extLst>
          </p:cNvPr>
          <p:cNvGrpSpPr/>
          <p:nvPr/>
        </p:nvGrpSpPr>
        <p:grpSpPr>
          <a:xfrm>
            <a:off x="2610151" y="3559621"/>
            <a:ext cx="432000" cy="2890737"/>
            <a:chOff x="2610151" y="3616534"/>
            <a:chExt cx="432000" cy="2890737"/>
          </a:xfrm>
        </p:grpSpPr>
        <p:pic>
          <p:nvPicPr>
            <p:cNvPr id="7" name="Picture 6">
              <a:extLst>
                <a:ext uri="{FF2B5EF4-FFF2-40B4-BE49-F238E27FC236}">
                  <a16:creationId xmlns:a16="http://schemas.microsoft.com/office/drawing/2014/main" id="{73E7AC39-3F85-414B-8EB5-465863888BD1}"/>
                </a:ext>
              </a:extLst>
            </p:cNvPr>
            <p:cNvPicPr>
              <a:picLocks noChangeAspect="1"/>
            </p:cNvPicPr>
            <p:nvPr/>
          </p:nvPicPr>
          <p:blipFill>
            <a:blip r:embed="rId3">
              <a:extLst>
                <a:ext uri="{28A0092B-C50C-407E-A947-70E740481C1C}">
                  <a14:useLocalDpi xmlns:a14="http://schemas.microsoft.com/office/drawing/2010/main" val="0"/>
                </a:ext>
              </a:extLst>
            </a:blip>
            <a:stretch/>
          </p:blipFill>
          <p:spPr>
            <a:xfrm>
              <a:off x="2644046" y="5562100"/>
              <a:ext cx="363136" cy="945171"/>
            </a:xfrm>
            <a:prstGeom prst="rect">
              <a:avLst/>
            </a:prstGeom>
          </p:spPr>
        </p:pic>
        <p:grpSp>
          <p:nvGrpSpPr>
            <p:cNvPr id="22" name="Group 21">
              <a:extLst>
                <a:ext uri="{FF2B5EF4-FFF2-40B4-BE49-F238E27FC236}">
                  <a16:creationId xmlns:a16="http://schemas.microsoft.com/office/drawing/2014/main" id="{AF671C71-1E28-F343-8B0C-02D884B4175C}"/>
                </a:ext>
              </a:extLst>
            </p:cNvPr>
            <p:cNvGrpSpPr/>
            <p:nvPr/>
          </p:nvGrpSpPr>
          <p:grpSpPr>
            <a:xfrm rot="5400000">
              <a:off x="1852434" y="4374251"/>
              <a:ext cx="1947433" cy="432000"/>
              <a:chOff x="3285138" y="5402337"/>
              <a:chExt cx="2160000" cy="432000"/>
            </a:xfrm>
          </p:grpSpPr>
          <p:sp>
            <p:nvSpPr>
              <p:cNvPr id="20" name="Isosceles Triangle 90">
                <a:extLst>
                  <a:ext uri="{FF2B5EF4-FFF2-40B4-BE49-F238E27FC236}">
                    <a16:creationId xmlns:a16="http://schemas.microsoft.com/office/drawing/2014/main" id="{C4BA5533-7012-664E-920D-682E0F661D11}"/>
                  </a:ext>
                </a:extLst>
              </p:cNvPr>
              <p:cNvSpPr/>
              <p:nvPr/>
            </p:nvSpPr>
            <p:spPr>
              <a:xfrm rot="16200000" flipV="1">
                <a:off x="4149138" y="4538337"/>
                <a:ext cx="432000" cy="2160000"/>
              </a:xfrm>
              <a:prstGeom prst="triangle">
                <a:avLst/>
              </a:prstGeom>
              <a:solidFill>
                <a:srgbClr val="FFFF00">
                  <a:alpha val="30000"/>
                </a:srgbClr>
              </a:solidFill>
              <a:ln w="317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1" name="Isosceles Triangle 109">
                <a:extLst>
                  <a:ext uri="{FF2B5EF4-FFF2-40B4-BE49-F238E27FC236}">
                    <a16:creationId xmlns:a16="http://schemas.microsoft.com/office/drawing/2014/main" id="{7A4093DE-0F07-D748-9315-8D962313BB0B}"/>
                  </a:ext>
                </a:extLst>
              </p:cNvPr>
              <p:cNvSpPr/>
              <p:nvPr/>
            </p:nvSpPr>
            <p:spPr>
              <a:xfrm rot="16200000" flipV="1">
                <a:off x="4548437" y="4898337"/>
                <a:ext cx="324000" cy="1440000"/>
              </a:xfrm>
              <a:prstGeom prst="triangle">
                <a:avLst/>
              </a:prstGeom>
              <a:solidFill>
                <a:srgbClr val="FF0000">
                  <a:alpha val="40000"/>
                </a:srgbClr>
              </a:solidFill>
              <a:ln w="317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grpSp>
      <p:cxnSp>
        <p:nvCxnSpPr>
          <p:cNvPr id="25" name="Straight Arrow Connector 24">
            <a:extLst>
              <a:ext uri="{FF2B5EF4-FFF2-40B4-BE49-F238E27FC236}">
                <a16:creationId xmlns:a16="http://schemas.microsoft.com/office/drawing/2014/main" id="{2C6203DD-DB2B-8840-8A87-424ACC8D8C95}"/>
              </a:ext>
            </a:extLst>
          </p:cNvPr>
          <p:cNvCxnSpPr>
            <a:cxnSpLocks/>
          </p:cNvCxnSpPr>
          <p:nvPr/>
        </p:nvCxnSpPr>
        <p:spPr>
          <a:xfrm>
            <a:off x="2130256" y="2995007"/>
            <a:ext cx="0" cy="2135754"/>
          </a:xfrm>
          <a:prstGeom prst="straightConnector1">
            <a:avLst/>
          </a:prstGeom>
          <a:ln w="349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821A6D0-F2AD-294D-949E-9BC8F8B51084}"/>
              </a:ext>
            </a:extLst>
          </p:cNvPr>
          <p:cNvSpPr txBox="1"/>
          <p:nvPr/>
        </p:nvSpPr>
        <p:spPr>
          <a:xfrm>
            <a:off x="1474278" y="3878218"/>
            <a:ext cx="655978" cy="369332"/>
          </a:xfrm>
          <a:prstGeom prst="rect">
            <a:avLst/>
          </a:prstGeom>
          <a:noFill/>
        </p:spPr>
        <p:txBody>
          <a:bodyPr wrap="square" rtlCol="0">
            <a:spAutoFit/>
          </a:bodyPr>
          <a:lstStyle/>
          <a:p>
            <a:r>
              <a:rPr lang="en-US" u="sng" dirty="0">
                <a:solidFill>
                  <a:srgbClr val="FF0000"/>
                </a:solidFill>
              </a:rPr>
              <a:t>30 m</a:t>
            </a:r>
          </a:p>
        </p:txBody>
      </p:sp>
      <p:cxnSp>
        <p:nvCxnSpPr>
          <p:cNvPr id="29" name="Straight Arrow Connector 28">
            <a:extLst>
              <a:ext uri="{FF2B5EF4-FFF2-40B4-BE49-F238E27FC236}">
                <a16:creationId xmlns:a16="http://schemas.microsoft.com/office/drawing/2014/main" id="{C9DE6475-454B-7E43-9805-D2C044313BCB}"/>
              </a:ext>
            </a:extLst>
          </p:cNvPr>
          <p:cNvCxnSpPr>
            <a:cxnSpLocks/>
          </p:cNvCxnSpPr>
          <p:nvPr/>
        </p:nvCxnSpPr>
        <p:spPr>
          <a:xfrm rot="16200000">
            <a:off x="5956830" y="1927130"/>
            <a:ext cx="0" cy="2135754"/>
          </a:xfrm>
          <a:prstGeom prst="straightConnector1">
            <a:avLst/>
          </a:prstGeom>
          <a:ln w="349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D6F3CE5E-C286-8F49-B8F2-BC9114112C99}"/>
              </a:ext>
            </a:extLst>
          </p:cNvPr>
          <p:cNvSpPr txBox="1"/>
          <p:nvPr/>
        </p:nvSpPr>
        <p:spPr>
          <a:xfrm>
            <a:off x="5586815" y="3050925"/>
            <a:ext cx="655978" cy="369332"/>
          </a:xfrm>
          <a:prstGeom prst="rect">
            <a:avLst/>
          </a:prstGeom>
          <a:noFill/>
        </p:spPr>
        <p:txBody>
          <a:bodyPr wrap="square" rtlCol="0">
            <a:spAutoFit/>
          </a:bodyPr>
          <a:lstStyle/>
          <a:p>
            <a:r>
              <a:rPr lang="en-US" u="sng" dirty="0">
                <a:solidFill>
                  <a:srgbClr val="FF0000"/>
                </a:solidFill>
              </a:rPr>
              <a:t>30 m</a:t>
            </a:r>
          </a:p>
        </p:txBody>
      </p:sp>
      <p:pic>
        <p:nvPicPr>
          <p:cNvPr id="8" name="Graphic 7" descr="Wireless router">
            <a:extLst>
              <a:ext uri="{FF2B5EF4-FFF2-40B4-BE49-F238E27FC236}">
                <a16:creationId xmlns:a16="http://schemas.microsoft.com/office/drawing/2014/main" id="{34054C61-AD58-4F42-81F2-9BFB77274B2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29207" y="4502216"/>
            <a:ext cx="472223" cy="472223"/>
          </a:xfrm>
          <a:prstGeom prst="rect">
            <a:avLst/>
          </a:prstGeom>
        </p:spPr>
      </p:pic>
      <p:grpSp>
        <p:nvGrpSpPr>
          <p:cNvPr id="19" name="Group 18">
            <a:extLst>
              <a:ext uri="{FF2B5EF4-FFF2-40B4-BE49-F238E27FC236}">
                <a16:creationId xmlns:a16="http://schemas.microsoft.com/office/drawing/2014/main" id="{67981F0F-8E6D-BC42-8C47-A69940083387}"/>
              </a:ext>
            </a:extLst>
          </p:cNvPr>
          <p:cNvGrpSpPr/>
          <p:nvPr/>
        </p:nvGrpSpPr>
        <p:grpSpPr>
          <a:xfrm rot="16200000">
            <a:off x="13556553" y="710765"/>
            <a:ext cx="684000" cy="3161947"/>
            <a:chOff x="7805001" y="2861333"/>
            <a:chExt cx="515948" cy="3161947"/>
          </a:xfrm>
        </p:grpSpPr>
        <p:sp>
          <p:nvSpPr>
            <p:cNvPr id="16" name="Isosceles Triangle 90">
              <a:extLst>
                <a:ext uri="{FF2B5EF4-FFF2-40B4-BE49-F238E27FC236}">
                  <a16:creationId xmlns:a16="http://schemas.microsoft.com/office/drawing/2014/main" id="{BFFB5089-6426-5844-9A91-78D7D2F76FFE}"/>
                </a:ext>
              </a:extLst>
            </p:cNvPr>
            <p:cNvSpPr/>
            <p:nvPr/>
          </p:nvSpPr>
          <p:spPr>
            <a:xfrm flipV="1">
              <a:off x="7835382" y="2861333"/>
              <a:ext cx="432000" cy="2160000"/>
            </a:xfrm>
            <a:prstGeom prst="triangle">
              <a:avLst/>
            </a:prstGeom>
            <a:solidFill>
              <a:srgbClr val="FFFF00">
                <a:alpha val="30000"/>
              </a:srgbClr>
            </a:solidFill>
            <a:ln w="317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7" name="Isosceles Triangle 109">
              <a:extLst>
                <a:ext uri="{FF2B5EF4-FFF2-40B4-BE49-F238E27FC236}">
                  <a16:creationId xmlns:a16="http://schemas.microsoft.com/office/drawing/2014/main" id="{8047CEF3-5AAD-FF4A-BD8F-160D3114CF3E}"/>
                </a:ext>
              </a:extLst>
            </p:cNvPr>
            <p:cNvSpPr/>
            <p:nvPr/>
          </p:nvSpPr>
          <p:spPr>
            <a:xfrm flipV="1">
              <a:off x="7889382" y="3566632"/>
              <a:ext cx="324000" cy="1440000"/>
            </a:xfrm>
            <a:prstGeom prst="triangle">
              <a:avLst/>
            </a:prstGeom>
            <a:solidFill>
              <a:srgbClr val="FF0000">
                <a:alpha val="40000"/>
              </a:srgbClr>
            </a:solidFill>
            <a:ln w="317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18" name="Picture 43">
              <a:extLst>
                <a:ext uri="{FF2B5EF4-FFF2-40B4-BE49-F238E27FC236}">
                  <a16:creationId xmlns:a16="http://schemas.microsoft.com/office/drawing/2014/main" id="{4AAECD7F-00C5-9C49-8572-8A630ED6063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p:blipFill>
          <p:spPr bwMode="auto">
            <a:xfrm rot="16200000">
              <a:off x="7540691" y="5243023"/>
              <a:ext cx="1044567" cy="5159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3" name="Group 22">
            <a:extLst>
              <a:ext uri="{FF2B5EF4-FFF2-40B4-BE49-F238E27FC236}">
                <a16:creationId xmlns:a16="http://schemas.microsoft.com/office/drawing/2014/main" id="{7342217A-88B3-254A-9A95-4D348DAB214E}"/>
              </a:ext>
            </a:extLst>
          </p:cNvPr>
          <p:cNvGrpSpPr/>
          <p:nvPr/>
        </p:nvGrpSpPr>
        <p:grpSpPr>
          <a:xfrm rot="20360084" flipH="1">
            <a:off x="2999414" y="4961202"/>
            <a:ext cx="805832" cy="797176"/>
            <a:chOff x="4551062" y="4164748"/>
            <a:chExt cx="1506867" cy="1083105"/>
          </a:xfrm>
        </p:grpSpPr>
        <p:pic>
          <p:nvPicPr>
            <p:cNvPr id="24" name="Graphic 23" descr="Marketing">
              <a:extLst>
                <a:ext uri="{FF2B5EF4-FFF2-40B4-BE49-F238E27FC236}">
                  <a16:creationId xmlns:a16="http://schemas.microsoft.com/office/drawing/2014/main" id="{9F9B0432-9A68-7C4D-BC17-1A54D107D00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551062" y="4333453"/>
              <a:ext cx="914400" cy="914400"/>
            </a:xfrm>
            <a:prstGeom prst="rect">
              <a:avLst/>
            </a:prstGeom>
          </p:spPr>
        </p:pic>
        <p:pic>
          <p:nvPicPr>
            <p:cNvPr id="26" name="Graphic 25" descr="Wi-Fi">
              <a:extLst>
                <a:ext uri="{FF2B5EF4-FFF2-40B4-BE49-F238E27FC236}">
                  <a16:creationId xmlns:a16="http://schemas.microsoft.com/office/drawing/2014/main" id="{1D6E14EA-8441-9346-922C-C50CCDD7569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5400000">
              <a:off x="5143529" y="4164748"/>
              <a:ext cx="914400" cy="914400"/>
            </a:xfrm>
            <a:prstGeom prst="rect">
              <a:avLst/>
            </a:prstGeom>
          </p:spPr>
        </p:pic>
      </p:grpSp>
      <p:sp>
        <p:nvSpPr>
          <p:cNvPr id="10" name="Freeform 9">
            <a:extLst>
              <a:ext uri="{FF2B5EF4-FFF2-40B4-BE49-F238E27FC236}">
                <a16:creationId xmlns:a16="http://schemas.microsoft.com/office/drawing/2014/main" id="{B470B0BB-FEC2-E245-A592-2E344250D626}"/>
              </a:ext>
            </a:extLst>
          </p:cNvPr>
          <p:cNvSpPr/>
          <p:nvPr/>
        </p:nvSpPr>
        <p:spPr>
          <a:xfrm>
            <a:off x="139148" y="807791"/>
            <a:ext cx="6971836" cy="4482548"/>
          </a:xfrm>
          <a:custGeom>
            <a:avLst/>
            <a:gdLst>
              <a:gd name="connsiteX0" fmla="*/ 9939 w 6858000"/>
              <a:gd name="connsiteY0" fmla="*/ 0 h 4522304"/>
              <a:gd name="connsiteX1" fmla="*/ 0 w 6858000"/>
              <a:gd name="connsiteY1" fmla="*/ 4522304 h 4522304"/>
              <a:gd name="connsiteX2" fmla="*/ 6858000 w 6858000"/>
              <a:gd name="connsiteY2" fmla="*/ 4502426 h 4522304"/>
              <a:gd name="connsiteX3" fmla="*/ 6838122 w 6858000"/>
              <a:gd name="connsiteY3" fmla="*/ 79513 h 4522304"/>
              <a:gd name="connsiteX4" fmla="*/ 9939 w 6858000"/>
              <a:gd name="connsiteY4" fmla="*/ 0 h 4522304"/>
              <a:gd name="connsiteX0" fmla="*/ 9939 w 6858000"/>
              <a:gd name="connsiteY0" fmla="*/ 0 h 4522304"/>
              <a:gd name="connsiteX1" fmla="*/ 0 w 6858000"/>
              <a:gd name="connsiteY1" fmla="*/ 4522304 h 4522304"/>
              <a:gd name="connsiteX2" fmla="*/ 6858000 w 6858000"/>
              <a:gd name="connsiteY2" fmla="*/ 4502426 h 4522304"/>
              <a:gd name="connsiteX3" fmla="*/ 6838122 w 6858000"/>
              <a:gd name="connsiteY3" fmla="*/ 9322 h 4522304"/>
              <a:gd name="connsiteX4" fmla="*/ 9939 w 6858000"/>
              <a:gd name="connsiteY4" fmla="*/ 0 h 4522304"/>
              <a:gd name="connsiteX0" fmla="*/ 9939 w 6858000"/>
              <a:gd name="connsiteY0" fmla="*/ 40814 h 4563118"/>
              <a:gd name="connsiteX1" fmla="*/ 0 w 6858000"/>
              <a:gd name="connsiteY1" fmla="*/ 4563118 h 4563118"/>
              <a:gd name="connsiteX2" fmla="*/ 6858000 w 6858000"/>
              <a:gd name="connsiteY2" fmla="*/ 4543240 h 4563118"/>
              <a:gd name="connsiteX3" fmla="*/ 6838122 w 6858000"/>
              <a:gd name="connsiteY3" fmla="*/ 0 h 4563118"/>
              <a:gd name="connsiteX4" fmla="*/ 9939 w 6858000"/>
              <a:gd name="connsiteY4" fmla="*/ 40814 h 4563118"/>
              <a:gd name="connsiteX0" fmla="*/ 9939 w 6858000"/>
              <a:gd name="connsiteY0" fmla="*/ 0 h 4522304"/>
              <a:gd name="connsiteX1" fmla="*/ 0 w 6858000"/>
              <a:gd name="connsiteY1" fmla="*/ 4522304 h 4522304"/>
              <a:gd name="connsiteX2" fmla="*/ 6858000 w 6858000"/>
              <a:gd name="connsiteY2" fmla="*/ 4502426 h 4522304"/>
              <a:gd name="connsiteX3" fmla="*/ 6838122 w 6858000"/>
              <a:gd name="connsiteY3" fmla="*/ 29377 h 4522304"/>
              <a:gd name="connsiteX4" fmla="*/ 9939 w 6858000"/>
              <a:gd name="connsiteY4" fmla="*/ 0 h 4522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4522304">
                <a:moveTo>
                  <a:pt x="9939" y="0"/>
                </a:moveTo>
                <a:lnTo>
                  <a:pt x="0" y="4522304"/>
                </a:lnTo>
                <a:lnTo>
                  <a:pt x="6858000" y="4502426"/>
                </a:lnTo>
                <a:lnTo>
                  <a:pt x="6838122" y="29377"/>
                </a:lnTo>
                <a:lnTo>
                  <a:pt x="9939" y="0"/>
                </a:lnTo>
                <a:close/>
              </a:path>
            </a:pathLst>
          </a:custGeom>
          <a:noFill/>
          <a:ln w="34925">
            <a:solidFill>
              <a:schemeClr val="tx1"/>
            </a:solidFill>
            <a:prstDash val="lgDashDot"/>
            <a:extLst>
              <a:ext uri="{C807C97D-BFC1-408E-A445-0C87EB9F89A2}">
                <ask:lineSketchStyleProps xmlns:ask="http://schemas.microsoft.com/office/drawing/2018/sketchyshapes" sd="1219033472">
                  <a:custGeom>
                    <a:avLst/>
                    <a:gdLst>
                      <a:gd name="connsiteX0" fmla="*/ 9886 w 6821558"/>
                      <a:gd name="connsiteY0" fmla="*/ 0 h 4482548"/>
                      <a:gd name="connsiteX1" fmla="*/ 0 w 6821558"/>
                      <a:gd name="connsiteY1" fmla="*/ 4482548 h 4482548"/>
                      <a:gd name="connsiteX2" fmla="*/ 704894 w 6821558"/>
                      <a:gd name="connsiteY2" fmla="*/ 4480512 h 4482548"/>
                      <a:gd name="connsiteX3" fmla="*/ 1205142 w 6821558"/>
                      <a:gd name="connsiteY3" fmla="*/ 4479067 h 4482548"/>
                      <a:gd name="connsiteX4" fmla="*/ 1637174 w 6821558"/>
                      <a:gd name="connsiteY4" fmla="*/ 4477819 h 4482548"/>
                      <a:gd name="connsiteX5" fmla="*/ 2273853 w 6821558"/>
                      <a:gd name="connsiteY5" fmla="*/ 4475980 h 4482548"/>
                      <a:gd name="connsiteX6" fmla="*/ 2774100 w 6821558"/>
                      <a:gd name="connsiteY6" fmla="*/ 4474535 h 4482548"/>
                      <a:gd name="connsiteX7" fmla="*/ 3478995 w 6821558"/>
                      <a:gd name="connsiteY7" fmla="*/ 4472499 h 4482548"/>
                      <a:gd name="connsiteX8" fmla="*/ 3911027 w 6821558"/>
                      <a:gd name="connsiteY8" fmla="*/ 4471251 h 4482548"/>
                      <a:gd name="connsiteX9" fmla="*/ 4615921 w 6821558"/>
                      <a:gd name="connsiteY9" fmla="*/ 4469215 h 4482548"/>
                      <a:gd name="connsiteX10" fmla="*/ 4979737 w 6821558"/>
                      <a:gd name="connsiteY10" fmla="*/ 4468164 h 4482548"/>
                      <a:gd name="connsiteX11" fmla="*/ 5548201 w 6821558"/>
                      <a:gd name="connsiteY11" fmla="*/ 4466522 h 4482548"/>
                      <a:gd name="connsiteX12" fmla="*/ 6116664 w 6821558"/>
                      <a:gd name="connsiteY12" fmla="*/ 4464880 h 4482548"/>
                      <a:gd name="connsiteX13" fmla="*/ 6821558 w 6821558"/>
                      <a:gd name="connsiteY13" fmla="*/ 4462844 h 4482548"/>
                      <a:gd name="connsiteX14" fmla="*/ 6818691 w 6821558"/>
                      <a:gd name="connsiteY14" fmla="*/ 3819954 h 4482548"/>
                      <a:gd name="connsiteX15" fmla="*/ 6815824 w 6821558"/>
                      <a:gd name="connsiteY15" fmla="*/ 3177063 h 4482548"/>
                      <a:gd name="connsiteX16" fmla="*/ 6812957 w 6821558"/>
                      <a:gd name="connsiteY16" fmla="*/ 2534173 h 4482548"/>
                      <a:gd name="connsiteX17" fmla="*/ 6810485 w 6821558"/>
                      <a:gd name="connsiteY17" fmla="*/ 1979957 h 4482548"/>
                      <a:gd name="connsiteX18" fmla="*/ 6808211 w 6821558"/>
                      <a:gd name="connsiteY18" fmla="*/ 1470079 h 4482548"/>
                      <a:gd name="connsiteX19" fmla="*/ 6806333 w 6821558"/>
                      <a:gd name="connsiteY19" fmla="*/ 1048875 h 4482548"/>
                      <a:gd name="connsiteX20" fmla="*/ 6804257 w 6821558"/>
                      <a:gd name="connsiteY20" fmla="*/ 583334 h 4482548"/>
                      <a:gd name="connsiteX21" fmla="*/ 6801785 w 6821558"/>
                      <a:gd name="connsiteY21" fmla="*/ 29118 h 4482548"/>
                      <a:gd name="connsiteX22" fmla="*/ 6303712 w 6821558"/>
                      <a:gd name="connsiteY22" fmla="*/ 26983 h 4482548"/>
                      <a:gd name="connsiteX23" fmla="*/ 5873559 w 6821558"/>
                      <a:gd name="connsiteY23" fmla="*/ 25139 h 4482548"/>
                      <a:gd name="connsiteX24" fmla="*/ 5239648 w 6821558"/>
                      <a:gd name="connsiteY24" fmla="*/ 22421 h 4482548"/>
                      <a:gd name="connsiteX25" fmla="*/ 4673657 w 6821558"/>
                      <a:gd name="connsiteY25" fmla="*/ 19994 h 4482548"/>
                      <a:gd name="connsiteX26" fmla="*/ 4107665 w 6821558"/>
                      <a:gd name="connsiteY26" fmla="*/ 17568 h 4482548"/>
                      <a:gd name="connsiteX27" fmla="*/ 3405836 w 6821558"/>
                      <a:gd name="connsiteY27" fmla="*/ 14559 h 4482548"/>
                      <a:gd name="connsiteX28" fmla="*/ 2771925 w 6821558"/>
                      <a:gd name="connsiteY28" fmla="*/ 11841 h 4482548"/>
                      <a:gd name="connsiteX29" fmla="*/ 2409690 w 6821558"/>
                      <a:gd name="connsiteY29" fmla="*/ 10288 h 4482548"/>
                      <a:gd name="connsiteX30" fmla="*/ 1911618 w 6821558"/>
                      <a:gd name="connsiteY30" fmla="*/ 8153 h 4482548"/>
                      <a:gd name="connsiteX31" fmla="*/ 1209788 w 6821558"/>
                      <a:gd name="connsiteY31" fmla="*/ 5144 h 4482548"/>
                      <a:gd name="connsiteX32" fmla="*/ 643797 w 6821558"/>
                      <a:gd name="connsiteY32" fmla="*/ 2718 h 4482548"/>
                      <a:gd name="connsiteX33" fmla="*/ 9886 w 6821558"/>
                      <a:gd name="connsiteY33" fmla="*/ 0 h 4482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821558" h="4482548" extrusionOk="0">
                        <a:moveTo>
                          <a:pt x="9886" y="0"/>
                        </a:moveTo>
                        <a:cubicBezTo>
                          <a:pt x="-176568" y="1381207"/>
                          <a:pt x="-213665" y="3069793"/>
                          <a:pt x="0" y="4482548"/>
                        </a:cubicBezTo>
                        <a:cubicBezTo>
                          <a:pt x="142639" y="4465065"/>
                          <a:pt x="395861" y="4562405"/>
                          <a:pt x="704894" y="4480512"/>
                        </a:cubicBezTo>
                        <a:cubicBezTo>
                          <a:pt x="1013927" y="4398619"/>
                          <a:pt x="1045802" y="4531281"/>
                          <a:pt x="1205142" y="4479067"/>
                        </a:cubicBezTo>
                        <a:cubicBezTo>
                          <a:pt x="1364482" y="4426853"/>
                          <a:pt x="1482910" y="4496695"/>
                          <a:pt x="1637174" y="4477819"/>
                        </a:cubicBezTo>
                        <a:cubicBezTo>
                          <a:pt x="1791438" y="4458943"/>
                          <a:pt x="1971312" y="4502304"/>
                          <a:pt x="2273853" y="4475980"/>
                        </a:cubicBezTo>
                        <a:cubicBezTo>
                          <a:pt x="2576394" y="4449656"/>
                          <a:pt x="2552054" y="4501194"/>
                          <a:pt x="2774100" y="4474535"/>
                        </a:cubicBezTo>
                        <a:cubicBezTo>
                          <a:pt x="2996146" y="4447876"/>
                          <a:pt x="3128528" y="4491861"/>
                          <a:pt x="3478995" y="4472499"/>
                        </a:cubicBezTo>
                        <a:cubicBezTo>
                          <a:pt x="3829462" y="4453137"/>
                          <a:pt x="3774861" y="4477445"/>
                          <a:pt x="3911027" y="4471251"/>
                        </a:cubicBezTo>
                        <a:cubicBezTo>
                          <a:pt x="4047193" y="4465057"/>
                          <a:pt x="4328843" y="4534503"/>
                          <a:pt x="4615921" y="4469215"/>
                        </a:cubicBezTo>
                        <a:cubicBezTo>
                          <a:pt x="4902999" y="4403927"/>
                          <a:pt x="4852946" y="4494494"/>
                          <a:pt x="4979737" y="4468164"/>
                        </a:cubicBezTo>
                        <a:cubicBezTo>
                          <a:pt x="5106528" y="4441834"/>
                          <a:pt x="5282883" y="4513015"/>
                          <a:pt x="5548201" y="4466522"/>
                        </a:cubicBezTo>
                        <a:cubicBezTo>
                          <a:pt x="5813519" y="4420029"/>
                          <a:pt x="5876763" y="4499316"/>
                          <a:pt x="6116664" y="4464880"/>
                        </a:cubicBezTo>
                        <a:cubicBezTo>
                          <a:pt x="6356565" y="4430444"/>
                          <a:pt x="6469583" y="4503008"/>
                          <a:pt x="6821558" y="4462844"/>
                        </a:cubicBezTo>
                        <a:cubicBezTo>
                          <a:pt x="6799772" y="4266803"/>
                          <a:pt x="6887459" y="4102242"/>
                          <a:pt x="6818691" y="3819954"/>
                        </a:cubicBezTo>
                        <a:cubicBezTo>
                          <a:pt x="6749923" y="3537666"/>
                          <a:pt x="6818353" y="3460017"/>
                          <a:pt x="6815824" y="3177063"/>
                        </a:cubicBezTo>
                        <a:cubicBezTo>
                          <a:pt x="6813295" y="2894109"/>
                          <a:pt x="6879090" y="2699220"/>
                          <a:pt x="6812957" y="2534173"/>
                        </a:cubicBezTo>
                        <a:cubicBezTo>
                          <a:pt x="6746824" y="2369126"/>
                          <a:pt x="6813404" y="2202308"/>
                          <a:pt x="6810485" y="1979957"/>
                        </a:cubicBezTo>
                        <a:cubicBezTo>
                          <a:pt x="6807566" y="1757606"/>
                          <a:pt x="6860663" y="1585303"/>
                          <a:pt x="6808211" y="1470079"/>
                        </a:cubicBezTo>
                        <a:cubicBezTo>
                          <a:pt x="6755760" y="1354855"/>
                          <a:pt x="6808027" y="1211390"/>
                          <a:pt x="6806333" y="1048875"/>
                        </a:cubicBezTo>
                        <a:cubicBezTo>
                          <a:pt x="6804639" y="886360"/>
                          <a:pt x="6817075" y="690357"/>
                          <a:pt x="6804257" y="583334"/>
                        </a:cubicBezTo>
                        <a:cubicBezTo>
                          <a:pt x="6791439" y="476311"/>
                          <a:pt x="6815648" y="227847"/>
                          <a:pt x="6801785" y="29118"/>
                        </a:cubicBezTo>
                        <a:cubicBezTo>
                          <a:pt x="6598961" y="59993"/>
                          <a:pt x="6477618" y="-19599"/>
                          <a:pt x="6303712" y="26983"/>
                        </a:cubicBezTo>
                        <a:cubicBezTo>
                          <a:pt x="6129806" y="73565"/>
                          <a:pt x="5974926" y="-16376"/>
                          <a:pt x="5873559" y="25139"/>
                        </a:cubicBezTo>
                        <a:cubicBezTo>
                          <a:pt x="5772192" y="66654"/>
                          <a:pt x="5524300" y="-42658"/>
                          <a:pt x="5239648" y="22421"/>
                        </a:cubicBezTo>
                        <a:cubicBezTo>
                          <a:pt x="4954996" y="87500"/>
                          <a:pt x="4859214" y="17357"/>
                          <a:pt x="4673657" y="19994"/>
                        </a:cubicBezTo>
                        <a:cubicBezTo>
                          <a:pt x="4488100" y="22632"/>
                          <a:pt x="4316304" y="-2356"/>
                          <a:pt x="4107665" y="17568"/>
                        </a:cubicBezTo>
                        <a:cubicBezTo>
                          <a:pt x="3899026" y="37491"/>
                          <a:pt x="3663147" y="-19960"/>
                          <a:pt x="3405836" y="14559"/>
                        </a:cubicBezTo>
                        <a:cubicBezTo>
                          <a:pt x="3148525" y="49078"/>
                          <a:pt x="2958775" y="-59120"/>
                          <a:pt x="2771925" y="11841"/>
                        </a:cubicBezTo>
                        <a:cubicBezTo>
                          <a:pt x="2585075" y="82802"/>
                          <a:pt x="2571093" y="6344"/>
                          <a:pt x="2409690" y="10288"/>
                        </a:cubicBezTo>
                        <a:cubicBezTo>
                          <a:pt x="2248287" y="14232"/>
                          <a:pt x="2057843" y="3987"/>
                          <a:pt x="1911618" y="8153"/>
                        </a:cubicBezTo>
                        <a:cubicBezTo>
                          <a:pt x="1765393" y="12319"/>
                          <a:pt x="1492732" y="-35600"/>
                          <a:pt x="1209788" y="5144"/>
                        </a:cubicBezTo>
                        <a:cubicBezTo>
                          <a:pt x="926844" y="45888"/>
                          <a:pt x="907646" y="-7973"/>
                          <a:pt x="643797" y="2718"/>
                        </a:cubicBezTo>
                        <a:cubicBezTo>
                          <a:pt x="379948" y="13409"/>
                          <a:pt x="246722" y="-34754"/>
                          <a:pt x="9886" y="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a:extLst>
              <a:ext uri="{FF2B5EF4-FFF2-40B4-BE49-F238E27FC236}">
                <a16:creationId xmlns:a16="http://schemas.microsoft.com/office/drawing/2014/main" id="{693DC53F-970D-E1D1-1C31-FD2AC31BC2AA}"/>
              </a:ext>
            </a:extLst>
          </p:cNvPr>
          <p:cNvSpPr txBox="1"/>
          <p:nvPr/>
        </p:nvSpPr>
        <p:spPr>
          <a:xfrm>
            <a:off x="139148" y="6481999"/>
            <a:ext cx="7415538" cy="271462"/>
          </a:xfrm>
          <a:prstGeom prst="rect">
            <a:avLst/>
          </a:prstGeom>
          <a:noFill/>
        </p:spPr>
        <p:txBody>
          <a:bodyPr wrap="square" rtlCol="0">
            <a:spAutoFit/>
          </a:bodyPr>
          <a:lstStyle/>
          <a:p>
            <a:r>
              <a:rPr lang="en-US" sz="1100" dirty="0">
                <a:solidFill>
                  <a:srgbClr val="FF0000"/>
                </a:solidFill>
              </a:rPr>
              <a:t>NOTE: the text in red provides examples of parameters that should be considered during development and site configuration.  </a:t>
            </a:r>
          </a:p>
        </p:txBody>
      </p:sp>
      <p:sp>
        <p:nvSpPr>
          <p:cNvPr id="2" name="TextBox 1">
            <a:extLst>
              <a:ext uri="{FF2B5EF4-FFF2-40B4-BE49-F238E27FC236}">
                <a16:creationId xmlns:a16="http://schemas.microsoft.com/office/drawing/2014/main" id="{4A0281AE-BB96-FA85-5E2B-3A188E259ECD}"/>
              </a:ext>
            </a:extLst>
          </p:cNvPr>
          <p:cNvSpPr txBox="1"/>
          <p:nvPr/>
        </p:nvSpPr>
        <p:spPr>
          <a:xfrm>
            <a:off x="259405" y="192571"/>
            <a:ext cx="8347882" cy="461665"/>
          </a:xfrm>
          <a:prstGeom prst="rect">
            <a:avLst/>
          </a:prstGeom>
          <a:noFill/>
        </p:spPr>
        <p:txBody>
          <a:bodyPr wrap="square" lIns="91440" tIns="45720" rIns="91440" bIns="45720" rtlCol="0" anchor="ctr">
            <a:spAutoFit/>
          </a:bodyPr>
          <a:lstStyle/>
          <a:p>
            <a:r>
              <a:rPr lang="en-US" sz="2400" dirty="0">
                <a:solidFill>
                  <a:schemeClr val="accent2"/>
                </a:solidFill>
                <a:latin typeface="Heebo"/>
                <a:ea typeface="Source Sans Pro"/>
                <a:cs typeface="Heebo"/>
              </a:rPr>
              <a:t>Scenario 4: </a:t>
            </a:r>
            <a:r>
              <a:rPr lang="en-US" sz="2400" dirty="0">
                <a:latin typeface="Heebo"/>
                <a:ea typeface="Source Sans Pro"/>
                <a:cs typeface="Heebo"/>
              </a:rPr>
              <a:t>T-intersections – light vehicle perspective</a:t>
            </a:r>
            <a:r>
              <a:rPr lang="en-US" sz="2400" dirty="0">
                <a:solidFill>
                  <a:schemeClr val="accent2"/>
                </a:solidFill>
                <a:latin typeface="Heebo"/>
                <a:ea typeface="Source Sans Pro"/>
                <a:cs typeface="Heebo"/>
              </a:rPr>
              <a:t> </a:t>
            </a:r>
            <a:endParaRPr lang="en-US" sz="2400" dirty="0">
              <a:latin typeface="Heebo"/>
              <a:ea typeface="Source Sans Pro"/>
              <a:cs typeface="Heebo"/>
            </a:endParaRPr>
          </a:p>
        </p:txBody>
      </p:sp>
    </p:spTree>
    <p:extLst>
      <p:ext uri="{BB962C8B-B14F-4D97-AF65-F5344CB8AC3E}">
        <p14:creationId xmlns:p14="http://schemas.microsoft.com/office/powerpoint/2010/main" val="205930249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dissolv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dissolve">
                                      <p:cBhvr>
                                        <p:cTn id="12" dur="500"/>
                                        <p:tgtEl>
                                          <p:spTgt spid="3">
                                            <p:txEl>
                                              <p:pRg st="2" end="2"/>
                                            </p:txEl>
                                          </p:spTgt>
                                        </p:tgtEl>
                                      </p:cBhvr>
                                    </p:animEffect>
                                  </p:childTnLst>
                                </p:cTn>
                              </p:par>
                              <p:par>
                                <p:cTn id="13" presetID="42" presetClass="path" presetSubtype="0" accel="50000" decel="50000" fill="hold" nodeType="withEffect">
                                  <p:stCondLst>
                                    <p:cond delay="1000"/>
                                  </p:stCondLst>
                                  <p:childTnLst>
                                    <p:animMotion origin="layout" path="M -0.00273 0.47708 L -0.00273 -0.03773 " pathEditMode="relative" rAng="0" ptsTypes="AA">
                                      <p:cBhvr>
                                        <p:cTn id="14" dur="2000" fill="hold"/>
                                        <p:tgtEl>
                                          <p:spTgt spid="5"/>
                                        </p:tgtEl>
                                        <p:attrNameLst>
                                          <p:attrName>ppt_x</p:attrName>
                                          <p:attrName>ppt_y</p:attrName>
                                        </p:attrNameLst>
                                      </p:cBhvr>
                                      <p:rCtr x="0" y="-25741"/>
                                    </p:animMotion>
                                  </p:childTnLst>
                                </p:cTn>
                              </p:par>
                            </p:childTnLst>
                          </p:cTn>
                        </p:par>
                        <p:par>
                          <p:cTn id="15" fill="hold">
                            <p:stCondLst>
                              <p:cond delay="3000"/>
                            </p:stCondLst>
                            <p:childTnLst>
                              <p:par>
                                <p:cTn id="16" presetID="1" presetClass="entr" presetSubtype="0" fill="hold" nodeType="afterEffect">
                                  <p:stCondLst>
                                    <p:cond delay="0"/>
                                  </p:stCondLst>
                                  <p:childTnLst>
                                    <p:set>
                                      <p:cBhvr>
                                        <p:cTn id="17" dur="1" fill="hold">
                                          <p:stCondLst>
                                            <p:cond delay="0"/>
                                          </p:stCondLst>
                                        </p:cTn>
                                        <p:tgtEl>
                                          <p:spTgt spid="8"/>
                                        </p:tgtEl>
                                        <p:attrNameLst>
                                          <p:attrName>style.visibility</p:attrName>
                                        </p:attrNameLst>
                                      </p:cBhvr>
                                      <p:to>
                                        <p:strVal val="visible"/>
                                      </p:to>
                                    </p:set>
                                  </p:childTnLst>
                                </p:cTn>
                              </p:par>
                            </p:childTnLst>
                          </p:cTn>
                        </p:par>
                        <p:par>
                          <p:cTn id="18" fill="hold">
                            <p:stCondLst>
                              <p:cond delay="3000"/>
                            </p:stCondLst>
                            <p:childTnLst>
                              <p:par>
                                <p:cTn id="19" presetID="26" presetClass="emph" presetSubtype="0" repeatCount="4000" fill="hold" nodeType="afterEffect">
                                  <p:stCondLst>
                                    <p:cond delay="0"/>
                                  </p:stCondLst>
                                  <p:childTnLst>
                                    <p:animEffect transition="out" filter="fade">
                                      <p:cBhvr>
                                        <p:cTn id="20" dur="1000" tmFilter="0, 0; .2, .5; .8, .5; 1, 0"/>
                                        <p:tgtEl>
                                          <p:spTgt spid="8"/>
                                        </p:tgtEl>
                                      </p:cBhvr>
                                    </p:animEffect>
                                    <p:animScale>
                                      <p:cBhvr>
                                        <p:cTn id="21" dur="500" autoRev="1" fill="hold"/>
                                        <p:tgtEl>
                                          <p:spTgt spid="8"/>
                                        </p:tgtEl>
                                      </p:cBhvr>
                                      <p:by x="105000" y="105000"/>
                                    </p:animScale>
                                  </p:childTnLst>
                                </p:cTn>
                              </p:par>
                            </p:childTnLst>
                          </p:cTn>
                        </p:par>
                      </p:childTnLst>
                    </p:cTn>
                  </p:par>
                  <p:par>
                    <p:cTn id="22" fill="hold">
                      <p:stCondLst>
                        <p:cond delay="indefinite"/>
                      </p:stCondLst>
                      <p:childTnLst>
                        <p:par>
                          <p:cTn id="23" fill="hold">
                            <p:stCondLst>
                              <p:cond delay="0"/>
                            </p:stCondLst>
                            <p:childTnLst>
                              <p:par>
                                <p:cTn id="24" presetID="9" presetClass="entr" presetSubtype="0" fill="hold" nodeType="clickEffect">
                                  <p:stCondLst>
                                    <p:cond delay="0"/>
                                  </p:stCondLst>
                                  <p:childTnLst>
                                    <p:set>
                                      <p:cBhvr>
                                        <p:cTn id="25" dur="1" fill="hold">
                                          <p:stCondLst>
                                            <p:cond delay="0"/>
                                          </p:stCondLst>
                                        </p:cTn>
                                        <p:tgtEl>
                                          <p:spTgt spid="3">
                                            <p:txEl>
                                              <p:pRg st="3" end="3"/>
                                            </p:txEl>
                                          </p:spTgt>
                                        </p:tgtEl>
                                        <p:attrNameLst>
                                          <p:attrName>style.visibility</p:attrName>
                                        </p:attrNameLst>
                                      </p:cBhvr>
                                      <p:to>
                                        <p:strVal val="visible"/>
                                      </p:to>
                                    </p:set>
                                    <p:animEffect transition="in" filter="dissolve">
                                      <p:cBhvr>
                                        <p:cTn id="26" dur="500"/>
                                        <p:tgtEl>
                                          <p:spTgt spid="3">
                                            <p:txEl>
                                              <p:pRg st="3" end="3"/>
                                            </p:txEl>
                                          </p:spTgt>
                                        </p:tgtEl>
                                      </p:cBhvr>
                                    </p:animEffect>
                                  </p:childTnLst>
                                </p:cTn>
                              </p:par>
                              <p:par>
                                <p:cTn id="27" presetID="9" presetClass="exit" presetSubtype="0" fill="hold" nodeType="withEffect">
                                  <p:stCondLst>
                                    <p:cond delay="0"/>
                                  </p:stCondLst>
                                  <p:childTnLst>
                                    <p:animEffect transition="out" filter="dissolve">
                                      <p:cBhvr>
                                        <p:cTn id="28" dur="500"/>
                                        <p:tgtEl>
                                          <p:spTgt spid="8"/>
                                        </p:tgtEl>
                                      </p:cBhvr>
                                    </p:animEffect>
                                    <p:set>
                                      <p:cBhvr>
                                        <p:cTn id="29" dur="1" fill="hold">
                                          <p:stCondLst>
                                            <p:cond delay="499"/>
                                          </p:stCondLst>
                                        </p:cTn>
                                        <p:tgtEl>
                                          <p:spTgt spid="8"/>
                                        </p:tgtEl>
                                        <p:attrNameLst>
                                          <p:attrName>style.visibility</p:attrName>
                                        </p:attrNameLst>
                                      </p:cBhvr>
                                      <p:to>
                                        <p:strVal val="hidden"/>
                                      </p:to>
                                    </p:set>
                                  </p:childTnLst>
                                </p:cTn>
                              </p:par>
                              <p:par>
                                <p:cTn id="30" presetID="42" presetClass="path" presetSubtype="0" accel="50000" decel="50000" fill="hold" nodeType="withEffect">
                                  <p:stCondLst>
                                    <p:cond delay="500"/>
                                  </p:stCondLst>
                                  <p:childTnLst>
                                    <p:animMotion origin="layout" path="M 0.10599 0.00649 L -0.68671 0.00649 " pathEditMode="relative" rAng="0" ptsTypes="AA">
                                      <p:cBhvr>
                                        <p:cTn id="31" dur="2000" fill="hold"/>
                                        <p:tgtEl>
                                          <p:spTgt spid="19"/>
                                        </p:tgtEl>
                                        <p:attrNameLst>
                                          <p:attrName>ppt_x</p:attrName>
                                          <p:attrName>ppt_y</p:attrName>
                                        </p:attrNameLst>
                                      </p:cBhvr>
                                      <p:rCtr x="-39635" y="0"/>
                                    </p:animMotion>
                                  </p:childTnLst>
                                </p:cTn>
                              </p:par>
                            </p:childTnLst>
                          </p:cTn>
                        </p:par>
                      </p:childTnLst>
                    </p:cTn>
                  </p:par>
                  <p:par>
                    <p:cTn id="32" fill="hold">
                      <p:stCondLst>
                        <p:cond delay="indefinite"/>
                      </p:stCondLst>
                      <p:childTnLst>
                        <p:par>
                          <p:cTn id="33" fill="hold">
                            <p:stCondLst>
                              <p:cond delay="0"/>
                            </p:stCondLst>
                            <p:childTnLst>
                              <p:par>
                                <p:cTn id="34" presetID="9" presetClass="entr" presetSubtype="0" fill="hold" nodeType="clickEffect">
                                  <p:stCondLst>
                                    <p:cond delay="0"/>
                                  </p:stCondLst>
                                  <p:childTnLst>
                                    <p:set>
                                      <p:cBhvr>
                                        <p:cTn id="35" dur="1" fill="hold">
                                          <p:stCondLst>
                                            <p:cond delay="0"/>
                                          </p:stCondLst>
                                        </p:cTn>
                                        <p:tgtEl>
                                          <p:spTgt spid="3">
                                            <p:txEl>
                                              <p:pRg st="4" end="4"/>
                                            </p:txEl>
                                          </p:spTgt>
                                        </p:tgtEl>
                                        <p:attrNameLst>
                                          <p:attrName>style.visibility</p:attrName>
                                        </p:attrNameLst>
                                      </p:cBhvr>
                                      <p:to>
                                        <p:strVal val="visible"/>
                                      </p:to>
                                    </p:set>
                                    <p:animEffect transition="in" filter="dissolve">
                                      <p:cBhvr>
                                        <p:cTn id="36" dur="500"/>
                                        <p:tgtEl>
                                          <p:spTgt spid="3">
                                            <p:txEl>
                                              <p:pRg st="4" end="4"/>
                                            </p:txEl>
                                          </p:spTgt>
                                        </p:tgtEl>
                                      </p:cBhvr>
                                    </p:animEffect>
                                  </p:childTnLst>
                                </p:cTn>
                              </p:par>
                              <p:par>
                                <p:cTn id="37" presetID="9" presetClass="entr" presetSubtype="0" fill="hold" nodeType="withEffect">
                                  <p:stCondLst>
                                    <p:cond delay="0"/>
                                  </p:stCondLst>
                                  <p:childTnLst>
                                    <p:set>
                                      <p:cBhvr>
                                        <p:cTn id="38" dur="1" fill="hold">
                                          <p:stCondLst>
                                            <p:cond delay="0"/>
                                          </p:stCondLst>
                                        </p:cTn>
                                        <p:tgtEl>
                                          <p:spTgt spid="3">
                                            <p:txEl>
                                              <p:pRg st="5" end="5"/>
                                            </p:txEl>
                                          </p:spTgt>
                                        </p:tgtEl>
                                        <p:attrNameLst>
                                          <p:attrName>style.visibility</p:attrName>
                                        </p:attrNameLst>
                                      </p:cBhvr>
                                      <p:to>
                                        <p:strVal val="visible"/>
                                      </p:to>
                                    </p:set>
                                    <p:animEffect transition="in" filter="dissolve">
                                      <p:cBhvr>
                                        <p:cTn id="39" dur="500"/>
                                        <p:tgtEl>
                                          <p:spTgt spid="3">
                                            <p:txEl>
                                              <p:pRg st="5" end="5"/>
                                            </p:txEl>
                                          </p:spTgt>
                                        </p:tgtEl>
                                      </p:cBhvr>
                                    </p:animEffect>
                                  </p:childTnLst>
                                </p:cTn>
                              </p:par>
                              <p:par>
                                <p:cTn id="40" presetID="6" presetClass="entr" presetSubtype="16" fill="hold" nodeType="withEffect">
                                  <p:stCondLst>
                                    <p:cond delay="0"/>
                                  </p:stCondLst>
                                  <p:childTnLst>
                                    <p:set>
                                      <p:cBhvr>
                                        <p:cTn id="41" dur="1" fill="hold">
                                          <p:stCondLst>
                                            <p:cond delay="0"/>
                                          </p:stCondLst>
                                        </p:cTn>
                                        <p:tgtEl>
                                          <p:spTgt spid="23"/>
                                        </p:tgtEl>
                                        <p:attrNameLst>
                                          <p:attrName>style.visibility</p:attrName>
                                        </p:attrNameLst>
                                      </p:cBhvr>
                                      <p:to>
                                        <p:strVal val="visible"/>
                                      </p:to>
                                    </p:set>
                                    <p:animEffect transition="in" filter="circle(in)">
                                      <p:cBhvr>
                                        <p:cTn id="42" dur="2000"/>
                                        <p:tgtEl>
                                          <p:spTgt spid="23"/>
                                        </p:tgtEl>
                                      </p:cBhvr>
                                    </p:animEffect>
                                  </p:childTnLst>
                                </p:cTn>
                              </p:par>
                              <p:par>
                                <p:cTn id="43" presetID="26" presetClass="emph" presetSubtype="0" repeatCount="3000" fill="hold" nodeType="withEffect">
                                  <p:stCondLst>
                                    <p:cond delay="500"/>
                                  </p:stCondLst>
                                  <p:childTnLst>
                                    <p:animEffect transition="out" filter="fade">
                                      <p:cBhvr>
                                        <p:cTn id="44" dur="1000" tmFilter="0, 0; .2, .5; .8, .5; 1, 0"/>
                                        <p:tgtEl>
                                          <p:spTgt spid="23"/>
                                        </p:tgtEl>
                                      </p:cBhvr>
                                    </p:animEffect>
                                    <p:animScale>
                                      <p:cBhvr>
                                        <p:cTn id="45" dur="500" autoRev="1" fill="hold"/>
                                        <p:tgtEl>
                                          <p:spTgt spid="23"/>
                                        </p:tgtEl>
                                      </p:cBhvr>
                                      <p:by x="105000" y="105000"/>
                                    </p:animScale>
                                  </p:childTnLst>
                                </p:cTn>
                              </p:par>
                            </p:childTnLst>
                          </p:cTn>
                        </p:par>
                      </p:childTnLst>
                    </p:cTn>
                  </p:par>
                  <p:par>
                    <p:cTn id="46" fill="hold">
                      <p:stCondLst>
                        <p:cond delay="indefinite"/>
                      </p:stCondLst>
                      <p:childTnLst>
                        <p:par>
                          <p:cTn id="47" fill="hold">
                            <p:stCondLst>
                              <p:cond delay="0"/>
                            </p:stCondLst>
                            <p:childTnLst>
                              <p:par>
                                <p:cTn id="48" presetID="9" presetClass="entr" presetSubtype="0" fill="hold" nodeType="clickEffect">
                                  <p:stCondLst>
                                    <p:cond delay="0"/>
                                  </p:stCondLst>
                                  <p:childTnLst>
                                    <p:set>
                                      <p:cBhvr>
                                        <p:cTn id="49" dur="1" fill="hold">
                                          <p:stCondLst>
                                            <p:cond delay="0"/>
                                          </p:stCondLst>
                                        </p:cTn>
                                        <p:tgtEl>
                                          <p:spTgt spid="3">
                                            <p:txEl>
                                              <p:pRg st="6" end="6"/>
                                            </p:txEl>
                                          </p:spTgt>
                                        </p:tgtEl>
                                        <p:attrNameLst>
                                          <p:attrName>style.visibility</p:attrName>
                                        </p:attrNameLst>
                                      </p:cBhvr>
                                      <p:to>
                                        <p:strVal val="visible"/>
                                      </p:to>
                                    </p:set>
                                    <p:animEffect transition="in" filter="dissolve">
                                      <p:cBhvr>
                                        <p:cTn id="50" dur="500"/>
                                        <p:tgtEl>
                                          <p:spTgt spid="3">
                                            <p:txEl>
                                              <p:pRg st="6" end="6"/>
                                            </p:txEl>
                                          </p:spTgt>
                                        </p:tgtEl>
                                      </p:cBhvr>
                                    </p:animEffect>
                                  </p:childTnLst>
                                </p:cTn>
                              </p:par>
                              <p:par>
                                <p:cTn id="51" presetID="9" presetClass="exit" presetSubtype="0" fill="hold" nodeType="withEffect">
                                  <p:stCondLst>
                                    <p:cond delay="0"/>
                                  </p:stCondLst>
                                  <p:childTnLst>
                                    <p:animEffect transition="out" filter="dissolve">
                                      <p:cBhvr>
                                        <p:cTn id="52" dur="500"/>
                                        <p:tgtEl>
                                          <p:spTgt spid="23"/>
                                        </p:tgtEl>
                                      </p:cBhvr>
                                    </p:animEffect>
                                    <p:set>
                                      <p:cBhvr>
                                        <p:cTn id="53" dur="1" fill="hold">
                                          <p:stCondLst>
                                            <p:cond delay="499"/>
                                          </p:stCondLst>
                                        </p:cTn>
                                        <p:tgtEl>
                                          <p:spTgt spid="23"/>
                                        </p:tgtEl>
                                        <p:attrNameLst>
                                          <p:attrName>style.visibility</p:attrName>
                                        </p:attrNameLst>
                                      </p:cBhvr>
                                      <p:to>
                                        <p:strVal val="hidden"/>
                                      </p:to>
                                    </p:set>
                                  </p:childTnLst>
                                </p:cTn>
                              </p:par>
                              <p:par>
                                <p:cTn id="54" presetID="42" presetClass="path" presetSubtype="0" accel="50000" decel="50000" fill="hold" nodeType="withEffect">
                                  <p:stCondLst>
                                    <p:cond delay="1000"/>
                                  </p:stCondLst>
                                  <p:childTnLst>
                                    <p:animMotion origin="layout" path="M -0.68671 0.00649 L -1.25859 0.00649 " pathEditMode="relative" rAng="0" ptsTypes="AA">
                                      <p:cBhvr>
                                        <p:cTn id="55" dur="2000" fill="hold"/>
                                        <p:tgtEl>
                                          <p:spTgt spid="19"/>
                                        </p:tgtEl>
                                        <p:attrNameLst>
                                          <p:attrName>ppt_x</p:attrName>
                                          <p:attrName>ppt_y</p:attrName>
                                        </p:attrNameLst>
                                      </p:cBhvr>
                                      <p:rCtr x="-28594" y="0"/>
                                    </p:animMotion>
                                  </p:childTnLst>
                                </p:cTn>
                              </p:par>
                            </p:childTnLst>
                          </p:cTn>
                        </p:par>
                      </p:childTnLst>
                    </p:cTn>
                  </p:par>
                  <p:par>
                    <p:cTn id="56" fill="hold">
                      <p:stCondLst>
                        <p:cond delay="indefinite"/>
                      </p:stCondLst>
                      <p:childTnLst>
                        <p:par>
                          <p:cTn id="57" fill="hold">
                            <p:stCondLst>
                              <p:cond delay="0"/>
                            </p:stCondLst>
                            <p:childTnLst>
                              <p:par>
                                <p:cTn id="58" presetID="9" presetClass="entr" presetSubtype="0" fill="hold" nodeType="clickEffect">
                                  <p:stCondLst>
                                    <p:cond delay="0"/>
                                  </p:stCondLst>
                                  <p:childTnLst>
                                    <p:set>
                                      <p:cBhvr>
                                        <p:cTn id="59" dur="1" fill="hold">
                                          <p:stCondLst>
                                            <p:cond delay="0"/>
                                          </p:stCondLst>
                                        </p:cTn>
                                        <p:tgtEl>
                                          <p:spTgt spid="3">
                                            <p:txEl>
                                              <p:pRg st="7" end="7"/>
                                            </p:txEl>
                                          </p:spTgt>
                                        </p:tgtEl>
                                        <p:attrNameLst>
                                          <p:attrName>style.visibility</p:attrName>
                                        </p:attrNameLst>
                                      </p:cBhvr>
                                      <p:to>
                                        <p:strVal val="visible"/>
                                      </p:to>
                                    </p:set>
                                    <p:animEffect transition="in" filter="dissolve">
                                      <p:cBhvr>
                                        <p:cTn id="60" dur="500"/>
                                        <p:tgtEl>
                                          <p:spTgt spid="3">
                                            <p:txEl>
                                              <p:pRg st="7" end="7"/>
                                            </p:txEl>
                                          </p:spTgt>
                                        </p:tgtEl>
                                      </p:cBhvr>
                                    </p:animEffect>
                                  </p:childTnLst>
                                </p:cTn>
                              </p:par>
                            </p:childTnLst>
                          </p:cTn>
                        </p:par>
                      </p:childTnLst>
                    </p:cTn>
                  </p:par>
                  <p:par>
                    <p:cTn id="61" fill="hold">
                      <p:stCondLst>
                        <p:cond delay="indefinite"/>
                      </p:stCondLst>
                      <p:childTnLst>
                        <p:par>
                          <p:cTn id="62" fill="hold">
                            <p:stCondLst>
                              <p:cond delay="0"/>
                            </p:stCondLst>
                            <p:childTnLst>
                              <p:par>
                                <p:cTn id="63" presetID="9" presetClass="entr" presetSubtype="0" fill="hold" nodeType="clickEffect">
                                  <p:stCondLst>
                                    <p:cond delay="0"/>
                                  </p:stCondLst>
                                  <p:childTnLst>
                                    <p:set>
                                      <p:cBhvr>
                                        <p:cTn id="64" dur="1" fill="hold">
                                          <p:stCondLst>
                                            <p:cond delay="0"/>
                                          </p:stCondLst>
                                        </p:cTn>
                                        <p:tgtEl>
                                          <p:spTgt spid="3">
                                            <p:txEl>
                                              <p:pRg st="8" end="8"/>
                                            </p:txEl>
                                          </p:spTgt>
                                        </p:tgtEl>
                                        <p:attrNameLst>
                                          <p:attrName>style.visibility</p:attrName>
                                        </p:attrNameLst>
                                      </p:cBhvr>
                                      <p:to>
                                        <p:strVal val="visible"/>
                                      </p:to>
                                    </p:set>
                                    <p:animEffect transition="in" filter="dissolve">
                                      <p:cBhvr>
                                        <p:cTn id="65" dur="500"/>
                                        <p:tgtEl>
                                          <p:spTgt spid="3">
                                            <p:txEl>
                                              <p:pRg st="8" end="8"/>
                                            </p:txEl>
                                          </p:spTgt>
                                        </p:tgtEl>
                                      </p:cBhvr>
                                    </p:animEffect>
                                  </p:childTnLst>
                                </p:cTn>
                              </p:par>
                            </p:childTnLst>
                          </p:cTn>
                        </p:par>
                      </p:childTnLst>
                    </p:cTn>
                  </p:par>
                  <p:par>
                    <p:cTn id="66" fill="hold">
                      <p:stCondLst>
                        <p:cond delay="indefinite"/>
                      </p:stCondLst>
                      <p:childTnLst>
                        <p:par>
                          <p:cTn id="67" fill="hold">
                            <p:stCondLst>
                              <p:cond delay="0"/>
                            </p:stCondLst>
                            <p:childTnLst>
                              <p:par>
                                <p:cTn id="68" presetID="9" presetClass="entr" presetSubtype="0" fill="hold" nodeType="clickEffect">
                                  <p:stCondLst>
                                    <p:cond delay="0"/>
                                  </p:stCondLst>
                                  <p:childTnLst>
                                    <p:set>
                                      <p:cBhvr>
                                        <p:cTn id="69" dur="1" fill="hold">
                                          <p:stCondLst>
                                            <p:cond delay="0"/>
                                          </p:stCondLst>
                                        </p:cTn>
                                        <p:tgtEl>
                                          <p:spTgt spid="3">
                                            <p:txEl>
                                              <p:pRg st="9" end="9"/>
                                            </p:txEl>
                                          </p:spTgt>
                                        </p:tgtEl>
                                        <p:attrNameLst>
                                          <p:attrName>style.visibility</p:attrName>
                                        </p:attrNameLst>
                                      </p:cBhvr>
                                      <p:to>
                                        <p:strVal val="visible"/>
                                      </p:to>
                                    </p:set>
                                    <p:animEffect transition="in" filter="dissolve">
                                      <p:cBhvr>
                                        <p:cTn id="70"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hu6Ris9mECUQjQ8ppo5SQ"/>
</p:tagLst>
</file>

<file path=ppt/theme/theme1.xml><?xml version="1.0" encoding="utf-8"?>
<a:theme xmlns:a="http://schemas.openxmlformats.org/drawingml/2006/main" name="Office Theme">
  <a:themeElements>
    <a:clrScheme name="Plan">
      <a:dk1>
        <a:srgbClr val="2E2F3F"/>
      </a:dk1>
      <a:lt1>
        <a:srgbClr val="FFFFFF"/>
      </a:lt1>
      <a:dk2>
        <a:srgbClr val="1A1B24"/>
      </a:dk2>
      <a:lt2>
        <a:srgbClr val="F5F5F5"/>
      </a:lt2>
      <a:accent1>
        <a:srgbClr val="CD9974"/>
      </a:accent1>
      <a:accent2>
        <a:srgbClr val="B46E50"/>
      </a:accent2>
      <a:accent3>
        <a:srgbClr val="8C543D"/>
      </a:accent3>
      <a:accent4>
        <a:srgbClr val="A5A5A5"/>
      </a:accent4>
      <a:accent5>
        <a:srgbClr val="6F6F6F"/>
      </a:accent5>
      <a:accent6>
        <a:srgbClr val="4D4D4D"/>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1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171C12DB-6408-4EFE-8DDB-9F2F29BAA9BE}">
  <we:reference id="wa200001396" version="2.1.6.0" store="en-US" storeType="OMEX"/>
  <we:alternateReferences>
    <we:reference id="wa200001396" version="2.1.6.0" store=""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07806B5FFDF9A4793CD5F18B6659BF2" ma:contentTypeVersion="17" ma:contentTypeDescription="Create a new document." ma:contentTypeScope="" ma:versionID="61495b89ca9e5d7d4c1a96675659c880">
  <xsd:schema xmlns:xsd="http://www.w3.org/2001/XMLSchema" xmlns:xs="http://www.w3.org/2001/XMLSchema" xmlns:p="http://schemas.microsoft.com/office/2006/metadata/properties" xmlns:ns2="a5bce02d-2058-40a1-a6ff-0a112af09d9f" xmlns:ns3="72697c1a-bd28-4733-a57b-b00ad0f48605" targetNamespace="http://schemas.microsoft.com/office/2006/metadata/properties" ma:root="true" ma:fieldsID="0b7cf3ce74042a99e3a9d0b22f274d76" ns2:_="" ns3:_="">
    <xsd:import namespace="a5bce02d-2058-40a1-a6ff-0a112af09d9f"/>
    <xsd:import namespace="72697c1a-bd28-4733-a57b-b00ad0f48605"/>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Tags" minOccurs="0"/>
                <xsd:element ref="ns2:MediaServiceGenerationTime" minOccurs="0"/>
                <xsd:element ref="ns2:MediaServiceEventHashCode" minOccurs="0"/>
                <xsd:element ref="ns2:MediaServiceObjectDetectorVersions" minOccurs="0"/>
                <xsd:element ref="ns3:SharedWithUsers" minOccurs="0"/>
                <xsd:element ref="ns3:SharedWithDetails" minOccurs="0"/>
                <xsd:element ref="ns2:MediaServiceSearchProperties" minOccurs="0"/>
                <xsd:element ref="ns2:Notes" minOccurs="0"/>
                <xsd:element ref="ns2:lcf76f155ced4ddcb4097134ff3c332f" minOccurs="0"/>
                <xsd:element ref="ns3:TaxCatchAll"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5bce02d-2058-40a1-a6ff-0a112af09d9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SearchProperties" ma:index="18" nillable="true" ma:displayName="MediaServiceSearchProperties" ma:hidden="true" ma:internalName="MediaServiceSearchProperties" ma:readOnly="true">
      <xsd:simpleType>
        <xsd:restriction base="dms:Note"/>
      </xsd:simpleType>
    </xsd:element>
    <xsd:element name="Notes" ma:index="19" nillable="true" ma:displayName="Notes" ma:format="Dropdown" ma:internalName="Notes">
      <xsd:simpleType>
        <xsd:restriction base="dms:Note">
          <xsd:maxLength value="255"/>
        </xsd:restrictio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43cd5ce1-a873-4b08-9b8a-1fde0424736c" ma:termSetId="09814cd3-568e-fe90-9814-8d621ff8fb84" ma:anchorId="fba54fb3-c3e1-fe81-a776-ca4b69148c4d" ma:open="true" ma:isKeyword="false">
      <xsd:complexType>
        <xsd:sequence>
          <xsd:element ref="pc:Terms" minOccurs="0" maxOccurs="1"/>
        </xsd:sequence>
      </xsd:complexType>
    </xsd:element>
    <xsd:element name="MediaServiceOCR" ma:index="23" nillable="true" ma:displayName="Extracted Text" ma:internalName="MediaServiceOCR" ma:readOnly="true">
      <xsd:simpleType>
        <xsd:restriction base="dms:Note">
          <xsd:maxLength value="255"/>
        </xsd:restriction>
      </xsd:simpleType>
    </xsd:element>
    <xsd:element name="MediaServiceLocation" ma:index="24"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2697c1a-bd28-4733-a57b-b00ad0f48605"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c5af8eb2-48ac-4120-9228-fda88e3d13d8}" ma:internalName="TaxCatchAll" ma:showField="CatchAllData" ma:web="72697c1a-bd28-4733-a57b-b00ad0f4860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a5bce02d-2058-40a1-a6ff-0a112af09d9f">
      <Terms xmlns="http://schemas.microsoft.com/office/infopath/2007/PartnerControls"/>
    </lcf76f155ced4ddcb4097134ff3c332f>
    <TaxCatchAll xmlns="72697c1a-bd28-4733-a57b-b00ad0f48605" xsi:nil="true"/>
    <Notes xmlns="a5bce02d-2058-40a1-a6ff-0a112af09d9f" xsi:nil="true"/>
  </documentManagement>
</p:properties>
</file>

<file path=customXml/itemProps1.xml><?xml version="1.0" encoding="utf-8"?>
<ds:datastoreItem xmlns:ds="http://schemas.openxmlformats.org/officeDocument/2006/customXml" ds:itemID="{9453ED4F-FC64-4E71-A60C-8BF5D5D49AA4}"/>
</file>

<file path=customXml/itemProps2.xml><?xml version="1.0" encoding="utf-8"?>
<ds:datastoreItem xmlns:ds="http://schemas.openxmlformats.org/officeDocument/2006/customXml" ds:itemID="{561FD963-EED9-408A-B38B-A321E8324C8D}">
  <ds:schemaRefs>
    <ds:schemaRef ds:uri="http://schemas.microsoft.com/sharepoint/v3/contenttype/forms"/>
  </ds:schemaRefs>
</ds:datastoreItem>
</file>

<file path=customXml/itemProps3.xml><?xml version="1.0" encoding="utf-8"?>
<ds:datastoreItem xmlns:ds="http://schemas.openxmlformats.org/officeDocument/2006/customXml" ds:itemID="{9E5FCE03-F201-43E4-B07B-4841C2A972DE}">
  <ds:schemaRefs>
    <ds:schemaRef ds:uri="http://purl.org/dc/terms/"/>
    <ds:schemaRef ds:uri="http://schemas.openxmlformats.org/package/2006/metadata/core-properties"/>
    <ds:schemaRef ds:uri="http://schemas.microsoft.com/office/infopath/2007/PartnerControls"/>
    <ds:schemaRef ds:uri="http://schemas.microsoft.com/office/2006/documentManagement/types"/>
    <ds:schemaRef ds:uri="http://purl.org/dc/elements/1.1/"/>
    <ds:schemaRef ds:uri="http://schemas.microsoft.com/office/2006/metadata/properties"/>
    <ds:schemaRef ds:uri="81e805e0-6b1c-4072-aa20-e53efca39d2d"/>
    <ds:schemaRef ds:uri="007fab1a-6714-4508-b8c6-015c86c88298"/>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18651</TotalTime>
  <Words>607</Words>
  <Application>Microsoft Macintosh PowerPoint</Application>
  <PresentationFormat>Widescreen</PresentationFormat>
  <Paragraphs>46</Paragraphs>
  <Slides>4</Slides>
  <Notes>0</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4</vt:i4>
      </vt:variant>
    </vt:vector>
  </HeadingPairs>
  <TitlesOfParts>
    <vt:vector size="13" baseType="lpstr">
      <vt:lpstr>Aptos</vt:lpstr>
      <vt:lpstr>Arial</vt:lpstr>
      <vt:lpstr>Calibri</vt:lpstr>
      <vt:lpstr>Calibri Light</vt:lpstr>
      <vt:lpstr>Courier New</vt:lpstr>
      <vt:lpstr>Heebo</vt:lpstr>
      <vt:lpstr>Heebo Black</vt:lpstr>
      <vt:lpstr>Montserrat</vt:lpstr>
      <vt:lpstr>Office Theme</vt:lpstr>
      <vt:lpstr>PowerPoint Presentation</vt:lpstr>
      <vt:lpstr>PowerPoint Presentation</vt:lpstr>
      <vt:lpstr>User interface behaviour – vehicle to vehicle interac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i maher</dc:creator>
  <cp:lastModifiedBy>Eve McDonald</cp:lastModifiedBy>
  <cp:revision>135</cp:revision>
  <dcterms:created xsi:type="dcterms:W3CDTF">2020-12-09T12:24:20Z</dcterms:created>
  <dcterms:modified xsi:type="dcterms:W3CDTF">2024-09-09T06:21: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CC821A64C5C344CA70894E97C2C9A71</vt:lpwstr>
  </property>
  <property fmtid="{D5CDD505-2E9C-101B-9397-08002B2CF9AE}" pid="3" name="MediaServiceImageTags">
    <vt:lpwstr/>
  </property>
</Properties>
</file>